
<file path=[Content_Types].xml><?xml version="1.0" encoding="utf-8"?>
<Types xmlns="http://schemas.openxmlformats.org/package/2006/content-types">
  <Default Extension="png" ContentType="image/png"/>
  <Default Extension="wmf" ContentType="image/x-wmf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pptx" ContentType="application/vnd.openxmlformats-officedocument.presentationml.presentation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94" r:id="rId4"/>
    <p:sldMasterId id="2147483784" r:id="rId5"/>
  </p:sldMasterIdLst>
  <p:notesMasterIdLst>
    <p:notesMasterId r:id="rId42"/>
  </p:notesMasterIdLst>
  <p:handoutMasterIdLst>
    <p:handoutMasterId r:id="rId43"/>
  </p:handoutMasterIdLst>
  <p:sldIdLst>
    <p:sldId id="256" r:id="rId6"/>
    <p:sldId id="467" r:id="rId7"/>
    <p:sldId id="359" r:id="rId8"/>
    <p:sldId id="264" r:id="rId9"/>
    <p:sldId id="386" r:id="rId10"/>
    <p:sldId id="475" r:id="rId11"/>
    <p:sldId id="374" r:id="rId12"/>
    <p:sldId id="478" r:id="rId13"/>
    <p:sldId id="465" r:id="rId14"/>
    <p:sldId id="258" r:id="rId15"/>
    <p:sldId id="473" r:id="rId16"/>
    <p:sldId id="477" r:id="rId17"/>
    <p:sldId id="328" r:id="rId18"/>
    <p:sldId id="356" r:id="rId19"/>
    <p:sldId id="268" r:id="rId20"/>
    <p:sldId id="381" r:id="rId21"/>
    <p:sldId id="263" r:id="rId22"/>
    <p:sldId id="360" r:id="rId23"/>
    <p:sldId id="286" r:id="rId24"/>
    <p:sldId id="470" r:id="rId25"/>
    <p:sldId id="335" r:id="rId26"/>
    <p:sldId id="327" r:id="rId27"/>
    <p:sldId id="329" r:id="rId28"/>
    <p:sldId id="404" r:id="rId29"/>
    <p:sldId id="464" r:id="rId30"/>
    <p:sldId id="469" r:id="rId31"/>
    <p:sldId id="332" r:id="rId32"/>
    <p:sldId id="471" r:id="rId33"/>
    <p:sldId id="331" r:id="rId34"/>
    <p:sldId id="333" r:id="rId35"/>
    <p:sldId id="330" r:id="rId36"/>
    <p:sldId id="338" r:id="rId37"/>
    <p:sldId id="280" r:id="rId38"/>
    <p:sldId id="337" r:id="rId39"/>
    <p:sldId id="334" r:id="rId40"/>
    <p:sldId id="358" r:id="rId41"/>
  </p:sldIdLst>
  <p:sldSz cx="9144000" cy="5143500" type="screen16x9"/>
  <p:notesSz cx="9144000" cy="6858000"/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9">
          <p15:clr>
            <a:srgbClr val="A4A3A4"/>
          </p15:clr>
        </p15:guide>
        <p15:guide id="2" pos="46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afael Lin" initials="RL" lastIdx="1" clrIdx="0">
    <p:extLst>
      <p:ext uri="{19B8F6BF-5375-455C-9EA6-DF929625EA0E}">
        <p15:presenceInfo xmlns:p15="http://schemas.microsoft.com/office/powerpoint/2012/main" userId="S-1-5-21-3507976546-3449710896-182076224-28733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C7DDB"/>
    <a:srgbClr val="86CEF4"/>
    <a:srgbClr val="0F238C"/>
    <a:srgbClr val="081765"/>
    <a:srgbClr val="0F238D"/>
    <a:srgbClr val="FFAF8B"/>
    <a:srgbClr val="FFA279"/>
    <a:srgbClr val="FF7F45"/>
    <a:srgbClr val="34AA34"/>
    <a:srgbClr val="FF78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>
        <p:scale>
          <a:sx n="75" d="100"/>
          <a:sy n="75" d="100"/>
        </p:scale>
        <p:origin x="2616" y="1290"/>
      </p:cViewPr>
      <p:guideLst>
        <p:guide orient="horz" pos="409"/>
        <p:guide pos="46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160"/>
        <p:guide pos="288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notesMaster" Target="notesMasters/notesMaster1.xml"/><Relationship Id="rId47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slide" Target="slides/slide36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handoutMaster" Target="handoutMasters/handoutMaster1.xml"/><Relationship Id="rId48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179484" y="0"/>
            <a:ext cx="3962400" cy="3429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9FCD8DF2-53D4-4BF6-8978-143C17340C4B}" type="datetimeFigureOut">
              <a:rPr lang="en-US"/>
              <a:pPr/>
              <a:t>5/1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51391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179484" y="6513910"/>
            <a:ext cx="3962400" cy="3429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22329EE4-9E7B-4DC4-A0B9-464292B80270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0216731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79484" y="0"/>
            <a:ext cx="3962400" cy="3429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58AA24D4-C142-4AD4-AFCF-F7BB80872E9B}" type="datetimeFigureOut">
              <a:rPr lang="en-US"/>
              <a:pPr/>
              <a:t>5/1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 noProof="0"/>
              <a:t>Click to edit Master text styles</a:t>
            </a:r>
          </a:p>
          <a:p>
            <a:pPr lvl="1"/>
            <a:r>
              <a:rPr lang="nl-NL" noProof="0"/>
              <a:t>Second level</a:t>
            </a:r>
          </a:p>
          <a:p>
            <a:pPr lvl="2"/>
            <a:r>
              <a:rPr lang="nl-NL" noProof="0"/>
              <a:t>Third level</a:t>
            </a:r>
          </a:p>
          <a:p>
            <a:pPr lvl="3"/>
            <a:r>
              <a:rPr lang="nl-NL" noProof="0"/>
              <a:t>Fourth level</a:t>
            </a:r>
          </a:p>
          <a:p>
            <a:pPr lvl="4"/>
            <a:r>
              <a:rPr lang="nl-NL" noProof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91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79484" y="6513910"/>
            <a:ext cx="3962400" cy="3429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76975FB5-9214-4EFA-B591-A6F1A7368D3F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6674645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/>
              <a:t>CL module parts are very sensitive. They are not preadjusted and stay at the same position for long. They continuously change position, the filters and light.</a:t>
            </a:r>
          </a:p>
          <a:p>
            <a:pPr marL="171450" indent="-171450">
              <a:buFontTx/>
              <a:buChar char="-"/>
            </a:pPr>
            <a:r>
              <a:rPr lang="en-US" dirty="0"/>
              <a:t>To adjust them with a set of calibrations is needed for better accuracy and at the end better performance of the YS system.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975FB5-9214-4EFA-B591-A6F1A7368D3F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5754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LM source project contains 3 parts: internal/CLM/external….</a:t>
            </a:r>
          </a:p>
          <a:p>
            <a:r>
              <a:rPr lang="en-US" dirty="0"/>
              <a:t>Blocks with empty rectangle are existing tasks.</a:t>
            </a:r>
          </a:p>
          <a:p>
            <a:r>
              <a:rPr lang="en-US" dirty="0"/>
              <a:t>Others are newly introduced tasks.</a:t>
            </a:r>
          </a:p>
          <a:p>
            <a:r>
              <a:rPr lang="en-US" dirty="0"/>
              <a:t>Among them ACE participates……….</a:t>
            </a:r>
          </a:p>
          <a:p>
            <a:r>
              <a:rPr lang="en-US" dirty="0"/>
              <a:t>6 tasks for internal spectrometer/ 5 tasks for CL module/ 5 tasks for external spectrometer</a:t>
            </a:r>
          </a:p>
          <a:p>
            <a:r>
              <a:rPr lang="en-US" dirty="0"/>
              <a:t>Therefore, ACE contributes totally 16 tasks for CLM SP 18 delivery.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975FB5-9214-4EFA-B591-A6F1A7368D3F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23271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Bef>
                <a:spcPts val="243"/>
              </a:spcBef>
            </a:pPr>
            <a:r>
              <a:rPr lang="en-GB" dirty="0">
                <a:latin typeface="Arial" charset="0"/>
                <a:ea typeface="ＭＳ Ｐゴシック" charset="0"/>
                <a:cs typeface="ＭＳ Ｐゴシック" charset="0"/>
              </a:rPr>
              <a:t>Diagram explanation:</a:t>
            </a:r>
            <a:br>
              <a:rPr lang="en-GB" dirty="0">
                <a:latin typeface="Arial" charset="0"/>
                <a:ea typeface="ＭＳ Ｐゴシック" charset="0"/>
                <a:cs typeface="ＭＳ Ｐゴシック" charset="0"/>
              </a:rPr>
            </a:br>
            <a:r>
              <a:rPr lang="en-GB" dirty="0">
                <a:latin typeface="Arial" charset="0"/>
                <a:ea typeface="ＭＳ Ｐゴシック" charset="0"/>
                <a:cs typeface="ＭＳ Ｐゴシック" charset="0"/>
              </a:rPr>
              <a:t>- it is just a model</a:t>
            </a:r>
            <a:br>
              <a:rPr lang="en-GB" dirty="0">
                <a:latin typeface="Arial" charset="0"/>
                <a:ea typeface="ＭＳ Ｐゴシック" charset="0"/>
                <a:cs typeface="ＭＳ Ｐゴシック" charset="0"/>
              </a:rPr>
            </a:br>
            <a:r>
              <a:rPr lang="en-GB" dirty="0">
                <a:latin typeface="Arial" charset="0"/>
                <a:ea typeface="ＭＳ Ｐゴシック" charset="0"/>
                <a:cs typeface="ＭＳ Ｐゴシック" charset="0"/>
              </a:rPr>
              <a:t>- good points:</a:t>
            </a:r>
            <a:br>
              <a:rPr lang="en-GB" dirty="0">
                <a:latin typeface="Arial" charset="0"/>
                <a:ea typeface="ＭＳ Ｐゴシック" charset="0"/>
                <a:cs typeface="ＭＳ Ｐゴシック" charset="0"/>
              </a:rPr>
            </a:br>
            <a:r>
              <a:rPr lang="en-GB" dirty="0">
                <a:latin typeface="Arial" charset="0"/>
                <a:ea typeface="ＭＳ Ｐゴシック" charset="0"/>
                <a:cs typeface="ＭＳ Ｐゴシック" charset="0"/>
              </a:rPr>
              <a:t>  - what you specify you need to verify/test later</a:t>
            </a:r>
            <a:br>
              <a:rPr lang="en-GB" dirty="0">
                <a:latin typeface="Arial" charset="0"/>
                <a:ea typeface="ＭＳ Ｐゴシック" charset="0"/>
                <a:cs typeface="ＭＳ Ｐゴシック" charset="0"/>
              </a:rPr>
            </a:br>
            <a:r>
              <a:rPr lang="en-GB" dirty="0">
                <a:latin typeface="Arial" charset="0"/>
                <a:ea typeface="ＭＳ Ｐゴシック" charset="0"/>
                <a:cs typeface="ＭＳ Ｐゴシック" charset="0"/>
              </a:rPr>
              <a:t>  - you have decomposition according product breakdown top-down</a:t>
            </a:r>
            <a:br>
              <a:rPr lang="en-GB" dirty="0">
                <a:latin typeface="Arial" charset="0"/>
                <a:ea typeface="ＭＳ Ｐゴシック" charset="0"/>
                <a:cs typeface="ＭＳ Ｐゴシック" charset="0"/>
              </a:rPr>
            </a:br>
            <a:r>
              <a:rPr lang="en-GB" dirty="0">
                <a:latin typeface="Arial" charset="0"/>
                <a:ea typeface="ＭＳ Ｐゴシック" charset="0"/>
                <a:cs typeface="ＭＳ Ｐゴシック" charset="0"/>
              </a:rPr>
              <a:t>  - integration follows product breakdown bottom-up</a:t>
            </a:r>
            <a:br>
              <a:rPr lang="en-GB" dirty="0">
                <a:latin typeface="Arial" charset="0"/>
                <a:ea typeface="ＭＳ Ｐゴシック" charset="0"/>
                <a:cs typeface="ＭＳ Ｐゴシック" charset="0"/>
              </a:rPr>
            </a:br>
            <a:r>
              <a:rPr lang="en-GB" dirty="0">
                <a:latin typeface="Arial" charset="0"/>
                <a:ea typeface="ＭＳ Ｐゴシック" charset="0"/>
                <a:cs typeface="ＭＳ Ｐゴシック" charset="0"/>
              </a:rPr>
              <a:t>- weak points:</a:t>
            </a:r>
            <a:br>
              <a:rPr lang="en-GB" dirty="0">
                <a:latin typeface="Arial" charset="0"/>
                <a:ea typeface="ＭＳ Ｐゴシック" charset="0"/>
                <a:cs typeface="ＭＳ Ｐゴシック" charset="0"/>
              </a:rPr>
            </a:br>
            <a:r>
              <a:rPr lang="en-GB" dirty="0">
                <a:latin typeface="Arial" charset="0"/>
                <a:ea typeface="ＭＳ Ｐゴシック" charset="0"/>
                <a:cs typeface="ＭＳ Ｐゴシック" charset="0"/>
              </a:rPr>
              <a:t>  - there are many iterations, and things run concurrent during decomposition</a:t>
            </a:r>
            <a:br>
              <a:rPr lang="en-GB" dirty="0">
                <a:latin typeface="Arial" charset="0"/>
                <a:ea typeface="ＭＳ Ｐゴシック" charset="0"/>
                <a:cs typeface="ＭＳ Ｐゴシック" charset="0"/>
              </a:rPr>
            </a:br>
            <a:r>
              <a:rPr lang="en-GB" dirty="0">
                <a:latin typeface="Arial" charset="0"/>
                <a:ea typeface="ＭＳ Ｐゴシック" charset="0"/>
                <a:cs typeface="ＭＳ Ｐゴシック" charset="0"/>
              </a:rPr>
              <a:t>You use it as far as it can help you</a:t>
            </a:r>
            <a:br>
              <a:rPr lang="en-GB" dirty="0">
                <a:latin typeface="Arial" charset="0"/>
                <a:ea typeface="ＭＳ Ｐゴシック" charset="0"/>
                <a:cs typeface="ＭＳ Ｐゴシック" charset="0"/>
              </a:rPr>
            </a:br>
            <a:endParaRPr lang="en-GB" dirty="0">
              <a:latin typeface="Arial" charset="0"/>
              <a:ea typeface="ＭＳ Ｐゴシック" charset="0"/>
              <a:cs typeface="ＭＳ Ｐゴシック" charset="0"/>
            </a:endParaRPr>
          </a:p>
          <a:p>
            <a:pPr>
              <a:spcBef>
                <a:spcPts val="243"/>
              </a:spcBef>
            </a:pPr>
            <a:r>
              <a:rPr lang="en-GB" dirty="0">
                <a:latin typeface="Arial" charset="0"/>
                <a:ea typeface="ＭＳ Ｐゴシック" charset="0"/>
                <a:cs typeface="ＭＳ Ｐゴシック" charset="0"/>
              </a:rPr>
              <a:t>EDS = design specification. Specification = formal definition. Your design = their requirement, requirement for lower level of product breakdown.</a:t>
            </a:r>
          </a:p>
          <a:p>
            <a:pPr>
              <a:spcBef>
                <a:spcPts val="243"/>
              </a:spcBef>
            </a:pPr>
            <a:endParaRPr lang="en-GB" dirty="0">
              <a:latin typeface="Arial" charset="0"/>
              <a:ea typeface="ＭＳ Ｐゴシック" charset="0"/>
              <a:cs typeface="ＭＳ Ｐゴシック" charset="0"/>
            </a:endParaRPr>
          </a:p>
          <a:p>
            <a:pPr>
              <a:spcBef>
                <a:spcPts val="243"/>
              </a:spcBef>
            </a:pPr>
            <a:r>
              <a:rPr lang="en-GB" dirty="0">
                <a:latin typeface="Arial" charset="0"/>
                <a:ea typeface="ＭＳ Ｐゴシック" charset="0"/>
                <a:cs typeface="ＭＳ Ｐゴシック" charset="0"/>
              </a:rPr>
              <a:t>EPS = WHAT, EDS = HOW. If you need to delegate specify the what, and try to keep away from the how. It pulls on the creativity / expertise of the other.</a:t>
            </a:r>
            <a:br>
              <a:rPr lang="en-GB" dirty="0">
                <a:latin typeface="Arial" charset="0"/>
                <a:ea typeface="ＭＳ Ｐゴシック" charset="0"/>
                <a:cs typeface="ＭＳ Ｐゴシック" charset="0"/>
              </a:rPr>
            </a:br>
            <a:r>
              <a:rPr lang="en-GB" dirty="0">
                <a:latin typeface="Arial" charset="0"/>
                <a:ea typeface="ＭＳ Ｐゴシック" charset="0"/>
                <a:cs typeface="ＭＳ Ｐゴシック" charset="0"/>
              </a:rPr>
              <a:t>Example: </a:t>
            </a:r>
            <a:r>
              <a:rPr lang="en-GB" dirty="0" err="1">
                <a:latin typeface="Arial" charset="0"/>
                <a:ea typeface="ＭＳ Ｐゴシック" charset="0"/>
                <a:cs typeface="ＭＳ Ｐゴシック" charset="0"/>
              </a:rPr>
              <a:t>schilderswinkel</a:t>
            </a:r>
            <a:r>
              <a:rPr lang="en-GB" dirty="0">
                <a:latin typeface="Arial" charset="0"/>
                <a:ea typeface="ＭＳ Ｐゴシック" charset="0"/>
                <a:cs typeface="ＭＳ Ｐゴシック" charset="0"/>
              </a:rPr>
              <a:t>, if you want advice you can ask “I have to paint a wall and what do I need to get this done ?   </a:t>
            </a:r>
          </a:p>
          <a:p>
            <a:pPr>
              <a:spcBef>
                <a:spcPts val="243"/>
              </a:spcBef>
            </a:pPr>
            <a:endParaRPr lang="en-GB" dirty="0">
              <a:latin typeface="Arial" charset="0"/>
              <a:ea typeface="ＭＳ Ｐゴシック" charset="0"/>
              <a:cs typeface="ＭＳ Ｐゴシック" charset="0"/>
            </a:endParaRPr>
          </a:p>
          <a:p>
            <a:pPr>
              <a:spcBef>
                <a:spcPts val="243"/>
              </a:spcBef>
            </a:pPr>
            <a:r>
              <a:rPr lang="en-GB" dirty="0">
                <a:latin typeface="Arial" charset="0"/>
                <a:ea typeface="ＭＳ Ｐゴシック" charset="0"/>
                <a:cs typeface="ＭＳ Ｐゴシック" charset="0"/>
              </a:rPr>
              <a:t>The valley of the V -&gt; after some ‘tours of duty’ you can oversee the complete development V at the start. Not only comfortably rolling down, but you have to climb up.</a:t>
            </a:r>
            <a:br>
              <a:rPr lang="en-GB" dirty="0">
                <a:latin typeface="Arial" charset="0"/>
                <a:ea typeface="ＭＳ Ｐゴシック" charset="0"/>
                <a:cs typeface="ＭＳ Ｐゴシック" charset="0"/>
              </a:rPr>
            </a:br>
            <a:r>
              <a:rPr lang="en-GB" dirty="0">
                <a:latin typeface="Arial" charset="0"/>
                <a:ea typeface="ＭＳ Ｐゴシック" charset="0"/>
                <a:cs typeface="ＭＳ Ｐゴシック" charset="0"/>
              </a:rPr>
              <a:t>So: can I get this manufactured, tested, integrated into module, into proto, operated at customer is part of the total development </a:t>
            </a:r>
          </a:p>
          <a:p>
            <a:pPr>
              <a:spcBef>
                <a:spcPts val="243"/>
              </a:spcBef>
            </a:pPr>
            <a:endParaRPr lang="en-GB" dirty="0">
              <a:latin typeface="Arial" charset="0"/>
              <a:ea typeface="ＭＳ Ｐゴシック" charset="0"/>
              <a:cs typeface="ＭＳ Ｐゴシック" charset="0"/>
            </a:endParaRPr>
          </a:p>
          <a:p>
            <a:pPr defTabSz="466618">
              <a:spcBef>
                <a:spcPts val="243"/>
              </a:spcBef>
              <a:defRPr/>
            </a:pPr>
            <a:r>
              <a:rPr lang="en-US" dirty="0"/>
              <a:t>added </a:t>
            </a:r>
            <a:r>
              <a:rPr lang="en-US" dirty="0" err="1"/>
              <a:t>wk</a:t>
            </a:r>
            <a:r>
              <a:rPr lang="en-US" dirty="0"/>
              <a:t> 1339, session 25</a:t>
            </a:r>
          </a:p>
          <a:p>
            <a:pPr>
              <a:spcBef>
                <a:spcPts val="243"/>
              </a:spcBef>
            </a:pPr>
            <a:endParaRPr lang="en-GB" dirty="0">
              <a:latin typeface="Arial" charset="0"/>
              <a:ea typeface="ＭＳ Ｐゴシック" charset="0"/>
              <a:cs typeface="ＭＳ Ｐゴシック" charset="0"/>
            </a:endParaRPr>
          </a:p>
          <a:p>
            <a:endParaRPr lang="nl-NL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975FB5-9214-4EFA-B591-A6F1A7368D3F}" type="slidenum">
              <a:rPr lang="en-US" smtClean="0"/>
              <a:pPr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28735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E55BF3-096D-4BB4-B79F-E387CAF7B388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72346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ML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datum 2"/>
          <p:cNvSpPr>
            <a:spLocks noGrp="1"/>
          </p:cNvSpPr>
          <p:nvPr>
            <p:ph type="dt" sz="half" idx="10"/>
          </p:nvPr>
        </p:nvSpPr>
        <p:spPr>
          <a:xfrm>
            <a:off x="8251200" y="774000"/>
            <a:ext cx="752400" cy="9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&lt;Date&gt;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1"/>
          </p:nvPr>
        </p:nvSpPr>
        <p:spPr>
          <a:xfrm>
            <a:off x="8251200" y="644400"/>
            <a:ext cx="752400" cy="9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Slide </a:t>
            </a:r>
            <a:fld id="{1D9B13CD-33A0-446D-8703-F89F9F109F5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57200" y="108000"/>
            <a:ext cx="7610400" cy="3312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ext title, Arial 24pt dark blu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864000"/>
            <a:ext cx="7610400" cy="39600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tx2"/>
                </a:solidFill>
              </a:defRPr>
            </a:lvl1pPr>
            <a:lvl2pPr marL="403225" indent="-173038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tabLst/>
              <a:defRPr sz="1600">
                <a:solidFill>
                  <a:schemeClr val="tx2"/>
                </a:solidFill>
              </a:defRPr>
            </a:lvl2pPr>
            <a:lvl3pPr marL="741363" indent="-173038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</a:defRPr>
            </a:lvl3pPr>
            <a:lvl4pPr marL="990600" indent="-180975">
              <a:buFont typeface="Arial" pitchFamily="34" charset="0"/>
              <a:buChar char="•"/>
              <a:defRPr sz="1200">
                <a:solidFill>
                  <a:schemeClr val="tx2"/>
                </a:solidFill>
              </a:defRPr>
            </a:lvl4pPr>
            <a:lvl5pPr marL="1162050" indent="-171450">
              <a:buFont typeface="Arial" pitchFamily="34" charset="0"/>
              <a:buChar char="•"/>
              <a:defRPr sz="1000">
                <a:solidFill>
                  <a:schemeClr val="tx2"/>
                </a:solidFill>
              </a:defRPr>
            </a:lvl5pPr>
            <a:lvl6pPr marL="1257300" indent="-95250">
              <a:buFont typeface="Arial" pitchFamily="34" charset="0"/>
              <a:buChar char="•"/>
              <a:defRPr sz="800">
                <a:solidFill>
                  <a:schemeClr val="tx2"/>
                </a:solidFill>
              </a:defRPr>
            </a:lvl6pPr>
            <a:lvl7pPr marL="1343025" indent="-85725">
              <a:buFont typeface="Arial" pitchFamily="34" charset="0"/>
              <a:buChar char="•"/>
              <a:defRPr sz="600">
                <a:solidFill>
                  <a:schemeClr val="tx2"/>
                </a:solidFill>
              </a:defRPr>
            </a:lvl7pPr>
            <a:lvl8pPr marL="1438275" indent="-95250">
              <a:buFont typeface="Arial" pitchFamily="34" charset="0"/>
              <a:buChar char="•"/>
              <a:defRPr sz="400">
                <a:solidFill>
                  <a:schemeClr val="tx2"/>
                </a:solidFill>
              </a:defRPr>
            </a:lvl8pPr>
            <a:lvl9pPr marL="1524000" indent="-85725">
              <a:buFont typeface="Arial" pitchFamily="34" charset="0"/>
              <a:buChar char="•"/>
              <a:defRPr sz="400" baseline="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/>
              <a:t>Text, Arial 18pt middle blue</a:t>
            </a:r>
          </a:p>
          <a:p>
            <a:pPr lvl="1"/>
            <a:r>
              <a:rPr lang="en-US" noProof="0"/>
              <a:t>Second level, 16pt middle blue</a:t>
            </a:r>
          </a:p>
          <a:p>
            <a:pPr lvl="2"/>
            <a:r>
              <a:rPr lang="en-US" noProof="0"/>
              <a:t>Third level, 14pt middle blue</a:t>
            </a:r>
          </a:p>
          <a:p>
            <a:pPr lvl="3"/>
            <a:r>
              <a:rPr lang="en-US" noProof="0"/>
              <a:t>Level 4</a:t>
            </a:r>
          </a:p>
          <a:p>
            <a:pPr lvl="4"/>
            <a:r>
              <a:rPr lang="en-US" noProof="0"/>
              <a:t>Level 5</a:t>
            </a:r>
          </a:p>
          <a:p>
            <a:pPr lvl="5"/>
            <a:r>
              <a:rPr lang="en-US" noProof="0"/>
              <a:t>Level 6</a:t>
            </a:r>
          </a:p>
          <a:p>
            <a:pPr lvl="6"/>
            <a:r>
              <a:rPr lang="en-US" noProof="0"/>
              <a:t>Level 7	</a:t>
            </a:r>
          </a:p>
          <a:p>
            <a:pPr lvl="7"/>
            <a:r>
              <a:rPr lang="en-US" noProof="0"/>
              <a:t>Level 8</a:t>
            </a:r>
          </a:p>
          <a:p>
            <a:pPr lvl="8"/>
            <a:r>
              <a:rPr lang="en-US" noProof="0"/>
              <a:t>Level 9</a:t>
            </a:r>
          </a:p>
        </p:txBody>
      </p:sp>
      <p:sp>
        <p:nvSpPr>
          <p:cNvPr id="8" name="Tijdelijke aanduiding voor tekst 7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486001"/>
            <a:ext cx="7610400" cy="37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nl-NL"/>
              <a:t>Sub </a:t>
            </a:r>
            <a:r>
              <a:rPr lang="nl-NL" err="1"/>
              <a:t>title</a:t>
            </a:r>
            <a:r>
              <a:rPr lang="nl-NL"/>
              <a:t>, </a:t>
            </a:r>
            <a:r>
              <a:rPr lang="nl-NL" err="1"/>
              <a:t>Arial</a:t>
            </a:r>
            <a:r>
              <a:rPr lang="nl-NL"/>
              <a:t> 18pt </a:t>
            </a:r>
            <a:r>
              <a:rPr lang="nl-NL" err="1"/>
              <a:t>dark</a:t>
            </a:r>
            <a:r>
              <a:rPr lang="nl-NL"/>
              <a:t> blue</a:t>
            </a:r>
          </a:p>
        </p:txBody>
      </p:sp>
    </p:spTree>
    <p:extLst>
      <p:ext uri="{BB962C8B-B14F-4D97-AF65-F5344CB8AC3E}">
        <p14:creationId xmlns:p14="http://schemas.microsoft.com/office/powerpoint/2010/main" val="37139222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SML End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eform 26"/>
          <p:cNvSpPr/>
          <p:nvPr userDrawn="1"/>
        </p:nvSpPr>
        <p:spPr>
          <a:xfrm>
            <a:off x="504443" y="2938356"/>
            <a:ext cx="542378" cy="580739"/>
          </a:xfrm>
          <a:custGeom>
            <a:avLst/>
            <a:gdLst>
              <a:gd name="connsiteX0" fmla="*/ 0 w 1097756"/>
              <a:gd name="connsiteY0" fmla="*/ 0 h 1181100"/>
              <a:gd name="connsiteX1" fmla="*/ 745331 w 1097756"/>
              <a:gd name="connsiteY1" fmla="*/ 0 h 1181100"/>
              <a:gd name="connsiteX2" fmla="*/ 1097756 w 1097756"/>
              <a:gd name="connsiteY2" fmla="*/ 1178718 h 1181100"/>
              <a:gd name="connsiteX3" fmla="*/ 523875 w 1097756"/>
              <a:gd name="connsiteY3" fmla="*/ 1181100 h 1181100"/>
              <a:gd name="connsiteX4" fmla="*/ 0 w 1097756"/>
              <a:gd name="connsiteY4" fmla="*/ 0 h 1181100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523875 w 1400175"/>
              <a:gd name="connsiteY3" fmla="*/ 1181100 h 2197893"/>
              <a:gd name="connsiteX4" fmla="*/ 0 w 1400175"/>
              <a:gd name="connsiteY4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1047750 w 1400175"/>
              <a:gd name="connsiteY3" fmla="*/ 1790700 h 2197893"/>
              <a:gd name="connsiteX4" fmla="*/ 523875 w 1400175"/>
              <a:gd name="connsiteY4" fmla="*/ 1181100 h 2197893"/>
              <a:gd name="connsiteX5" fmla="*/ 0 w 1400175"/>
              <a:gd name="connsiteY5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50094 w 1400175"/>
              <a:gd name="connsiteY3" fmla="*/ 2193131 h 2197893"/>
              <a:gd name="connsiteX4" fmla="*/ 523875 w 1400175"/>
              <a:gd name="connsiteY4" fmla="*/ 1181100 h 2197893"/>
              <a:gd name="connsiteX5" fmla="*/ 0 w 1400175"/>
              <a:gd name="connsiteY5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523875 w 1400175"/>
              <a:gd name="connsiteY4" fmla="*/ 1181100 h 2197893"/>
              <a:gd name="connsiteX5" fmla="*/ 0 w 1400175"/>
              <a:gd name="connsiteY5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0 w 1400175"/>
              <a:gd name="connsiteY5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230981 w 1400175"/>
              <a:gd name="connsiteY5" fmla="*/ 295275 h 2197893"/>
              <a:gd name="connsiteX6" fmla="*/ 0 w 1400175"/>
              <a:gd name="connsiteY6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95262 w 1400175"/>
              <a:gd name="connsiteY5" fmla="*/ 1204913 h 2197893"/>
              <a:gd name="connsiteX6" fmla="*/ 0 w 1400175"/>
              <a:gd name="connsiteY6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0 w 1400175"/>
              <a:gd name="connsiteY6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135731 w 1400175"/>
              <a:gd name="connsiteY6" fmla="*/ 1102518 h 2197893"/>
              <a:gd name="connsiteX7" fmla="*/ 0 w 1400175"/>
              <a:gd name="connsiteY7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0 w 1400175"/>
              <a:gd name="connsiteY7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378619 w 1400175"/>
              <a:gd name="connsiteY7" fmla="*/ 862012 h 2197893"/>
              <a:gd name="connsiteX8" fmla="*/ 0 w 1400175"/>
              <a:gd name="connsiteY8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0 w 1400175"/>
              <a:gd name="connsiteY8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426244 w 1400175"/>
              <a:gd name="connsiteY8" fmla="*/ 1112043 h 2197893"/>
              <a:gd name="connsiteX9" fmla="*/ 0 w 1400175"/>
              <a:gd name="connsiteY9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88106 w 1400175"/>
              <a:gd name="connsiteY8" fmla="*/ 1795462 h 2197893"/>
              <a:gd name="connsiteX9" fmla="*/ 0 w 1400175"/>
              <a:gd name="connsiteY9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88106 w 1400175"/>
              <a:gd name="connsiteY8" fmla="*/ 1795462 h 2197893"/>
              <a:gd name="connsiteX9" fmla="*/ 52388 w 1400175"/>
              <a:gd name="connsiteY9" fmla="*/ 1131093 h 2197893"/>
              <a:gd name="connsiteX10" fmla="*/ 0 w 1400175"/>
              <a:gd name="connsiteY10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88106 w 1400175"/>
              <a:gd name="connsiteY8" fmla="*/ 1795462 h 2197893"/>
              <a:gd name="connsiteX9" fmla="*/ 0 w 1400175"/>
              <a:gd name="connsiteY9" fmla="*/ 2197893 h 2197893"/>
              <a:gd name="connsiteX10" fmla="*/ 0 w 1400175"/>
              <a:gd name="connsiteY10" fmla="*/ 0 h 2197893"/>
              <a:gd name="connsiteX0" fmla="*/ 4762 w 1404937"/>
              <a:gd name="connsiteY0" fmla="*/ 0 h 2197893"/>
              <a:gd name="connsiteX1" fmla="*/ 750093 w 1404937"/>
              <a:gd name="connsiteY1" fmla="*/ 0 h 2197893"/>
              <a:gd name="connsiteX2" fmla="*/ 1404937 w 1404937"/>
              <a:gd name="connsiteY2" fmla="*/ 2197893 h 2197893"/>
              <a:gd name="connsiteX3" fmla="*/ 752475 w 1404937"/>
              <a:gd name="connsiteY3" fmla="*/ 2195512 h 2197893"/>
              <a:gd name="connsiteX4" fmla="*/ 376237 w 1404937"/>
              <a:gd name="connsiteY4" fmla="*/ 478631 h 2197893"/>
              <a:gd name="connsiteX5" fmla="*/ 178592 w 1404937"/>
              <a:gd name="connsiteY5" fmla="*/ 1383507 h 2197893"/>
              <a:gd name="connsiteX6" fmla="*/ 614362 w 1404937"/>
              <a:gd name="connsiteY6" fmla="*/ 1385887 h 2197893"/>
              <a:gd name="connsiteX7" fmla="*/ 697706 w 1404937"/>
              <a:gd name="connsiteY7" fmla="*/ 1797843 h 2197893"/>
              <a:gd name="connsiteX8" fmla="*/ 92868 w 1404937"/>
              <a:gd name="connsiteY8" fmla="*/ 1795462 h 2197893"/>
              <a:gd name="connsiteX9" fmla="*/ 4762 w 1404937"/>
              <a:gd name="connsiteY9" fmla="*/ 2197893 h 2197893"/>
              <a:gd name="connsiteX10" fmla="*/ 0 w 1404937"/>
              <a:gd name="connsiteY10" fmla="*/ 2045493 h 2197893"/>
              <a:gd name="connsiteX11" fmla="*/ 4762 w 1404937"/>
              <a:gd name="connsiteY11" fmla="*/ 0 h 2197893"/>
              <a:gd name="connsiteX0" fmla="*/ 652462 w 2052637"/>
              <a:gd name="connsiteY0" fmla="*/ 0 h 2197893"/>
              <a:gd name="connsiteX1" fmla="*/ 1397793 w 2052637"/>
              <a:gd name="connsiteY1" fmla="*/ 0 h 2197893"/>
              <a:gd name="connsiteX2" fmla="*/ 2052637 w 2052637"/>
              <a:gd name="connsiteY2" fmla="*/ 2197893 h 2197893"/>
              <a:gd name="connsiteX3" fmla="*/ 1400175 w 2052637"/>
              <a:gd name="connsiteY3" fmla="*/ 2195512 h 2197893"/>
              <a:gd name="connsiteX4" fmla="*/ 1023937 w 2052637"/>
              <a:gd name="connsiteY4" fmla="*/ 478631 h 2197893"/>
              <a:gd name="connsiteX5" fmla="*/ 826292 w 2052637"/>
              <a:gd name="connsiteY5" fmla="*/ 1383507 h 2197893"/>
              <a:gd name="connsiteX6" fmla="*/ 1262062 w 2052637"/>
              <a:gd name="connsiteY6" fmla="*/ 1385887 h 2197893"/>
              <a:gd name="connsiteX7" fmla="*/ 1345406 w 2052637"/>
              <a:gd name="connsiteY7" fmla="*/ 1797843 h 2197893"/>
              <a:gd name="connsiteX8" fmla="*/ 740568 w 2052637"/>
              <a:gd name="connsiteY8" fmla="*/ 1795462 h 2197893"/>
              <a:gd name="connsiteX9" fmla="*/ 652462 w 2052637"/>
              <a:gd name="connsiteY9" fmla="*/ 2197893 h 2197893"/>
              <a:gd name="connsiteX10" fmla="*/ 0 w 2052637"/>
              <a:gd name="connsiteY10" fmla="*/ 2193131 h 2197893"/>
              <a:gd name="connsiteX11" fmla="*/ 652462 w 2052637"/>
              <a:gd name="connsiteY11" fmla="*/ 0 h 2197893"/>
              <a:gd name="connsiteX0" fmla="*/ 652462 w 2052637"/>
              <a:gd name="connsiteY0" fmla="*/ 1 h 2197894"/>
              <a:gd name="connsiteX1" fmla="*/ 1397793 w 2052637"/>
              <a:gd name="connsiteY1" fmla="*/ 1 h 2197894"/>
              <a:gd name="connsiteX2" fmla="*/ 2052637 w 2052637"/>
              <a:gd name="connsiteY2" fmla="*/ 2197894 h 2197894"/>
              <a:gd name="connsiteX3" fmla="*/ 1400175 w 2052637"/>
              <a:gd name="connsiteY3" fmla="*/ 2195513 h 2197894"/>
              <a:gd name="connsiteX4" fmla="*/ 1023937 w 2052637"/>
              <a:gd name="connsiteY4" fmla="*/ 478632 h 2197894"/>
              <a:gd name="connsiteX5" fmla="*/ 826292 w 2052637"/>
              <a:gd name="connsiteY5" fmla="*/ 1383508 h 2197894"/>
              <a:gd name="connsiteX6" fmla="*/ 1262062 w 2052637"/>
              <a:gd name="connsiteY6" fmla="*/ 1385888 h 2197894"/>
              <a:gd name="connsiteX7" fmla="*/ 1345406 w 2052637"/>
              <a:gd name="connsiteY7" fmla="*/ 1797844 h 2197894"/>
              <a:gd name="connsiteX8" fmla="*/ 740568 w 2052637"/>
              <a:gd name="connsiteY8" fmla="*/ 1795463 h 2197894"/>
              <a:gd name="connsiteX9" fmla="*/ 652462 w 2052637"/>
              <a:gd name="connsiteY9" fmla="*/ 2197894 h 2197894"/>
              <a:gd name="connsiteX10" fmla="*/ 0 w 2052637"/>
              <a:gd name="connsiteY10" fmla="*/ 2193132 h 2197894"/>
              <a:gd name="connsiteX11" fmla="*/ 652462 w 2052637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62133 w 2052708"/>
              <a:gd name="connsiteY6" fmla="*/ 1385888 h 2197894"/>
              <a:gd name="connsiteX7" fmla="*/ 1345477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14508 w 2052708"/>
              <a:gd name="connsiteY6" fmla="*/ 1383506 h 2197894"/>
              <a:gd name="connsiteX7" fmla="*/ 1345477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14508 w 2052708"/>
              <a:gd name="connsiteY6" fmla="*/ 1383506 h 2197894"/>
              <a:gd name="connsiteX7" fmla="*/ 1312139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19271 w 2052708"/>
              <a:gd name="connsiteY6" fmla="*/ 1376363 h 2197894"/>
              <a:gd name="connsiteX7" fmla="*/ 1312139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21653 w 2052708"/>
              <a:gd name="connsiteY6" fmla="*/ 1383507 h 2197894"/>
              <a:gd name="connsiteX7" fmla="*/ 1312139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21653 w 2052708"/>
              <a:gd name="connsiteY6" fmla="*/ 1383507 h 2197894"/>
              <a:gd name="connsiteX7" fmla="*/ 1312139 w 2052708"/>
              <a:gd name="connsiteY7" fmla="*/ 1795463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052708" h="2197894">
                <a:moveTo>
                  <a:pt x="652533" y="1"/>
                </a:moveTo>
                <a:lnTo>
                  <a:pt x="1397864" y="1"/>
                </a:lnTo>
                <a:lnTo>
                  <a:pt x="2052708" y="2197894"/>
                </a:lnTo>
                <a:lnTo>
                  <a:pt x="1400246" y="2195513"/>
                </a:lnTo>
                <a:lnTo>
                  <a:pt x="1024008" y="478632"/>
                </a:lnTo>
                <a:lnTo>
                  <a:pt x="826363" y="1383508"/>
                </a:lnTo>
                <a:lnTo>
                  <a:pt x="1221653" y="1383507"/>
                </a:lnTo>
                <a:lnTo>
                  <a:pt x="1312139" y="1795463"/>
                </a:lnTo>
                <a:lnTo>
                  <a:pt x="740639" y="1795463"/>
                </a:lnTo>
                <a:lnTo>
                  <a:pt x="652533" y="2197894"/>
                </a:lnTo>
                <a:lnTo>
                  <a:pt x="71" y="2193132"/>
                </a:lnTo>
                <a:cubicBezTo>
                  <a:pt x="-7867" y="2197101"/>
                  <a:pt x="648565" y="-1587"/>
                  <a:pt x="652533" y="1"/>
                </a:cubicBezTo>
                <a:close/>
              </a:path>
            </a:pathLst>
          </a:custGeom>
          <a:solidFill>
            <a:srgbClr val="0F238C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noProof="0">
              <a:solidFill>
                <a:schemeClr val="accent1"/>
              </a:solidFill>
            </a:endParaRPr>
          </a:p>
        </p:txBody>
      </p:sp>
      <p:sp>
        <p:nvSpPr>
          <p:cNvPr id="28" name="Freeform 27"/>
          <p:cNvSpPr/>
          <p:nvPr userDrawn="1"/>
        </p:nvSpPr>
        <p:spPr>
          <a:xfrm>
            <a:off x="1563140" y="2937726"/>
            <a:ext cx="660645" cy="580741"/>
          </a:xfrm>
          <a:custGeom>
            <a:avLst/>
            <a:gdLst>
              <a:gd name="connsiteX0" fmla="*/ 0 w 688182"/>
              <a:gd name="connsiteY0" fmla="*/ 950119 h 950119"/>
              <a:gd name="connsiteX1" fmla="*/ 611982 w 688182"/>
              <a:gd name="connsiteY1" fmla="*/ 950119 h 950119"/>
              <a:gd name="connsiteX2" fmla="*/ 688182 w 688182"/>
              <a:gd name="connsiteY2" fmla="*/ 0 h 950119"/>
              <a:gd name="connsiteX3" fmla="*/ 0 w 688182"/>
              <a:gd name="connsiteY3" fmla="*/ 950119 h 950119"/>
              <a:gd name="connsiteX0" fmla="*/ 0 w 688182"/>
              <a:gd name="connsiteY0" fmla="*/ 950119 h 950119"/>
              <a:gd name="connsiteX1" fmla="*/ 611982 w 688182"/>
              <a:gd name="connsiteY1" fmla="*/ 950119 h 950119"/>
              <a:gd name="connsiteX2" fmla="*/ 688182 w 688182"/>
              <a:gd name="connsiteY2" fmla="*/ 0 h 950119"/>
              <a:gd name="connsiteX3" fmla="*/ 214313 w 688182"/>
              <a:gd name="connsiteY3" fmla="*/ 652463 h 950119"/>
              <a:gd name="connsiteX4" fmla="*/ 0 w 688182"/>
              <a:gd name="connsiteY4" fmla="*/ 950119 h 950119"/>
              <a:gd name="connsiteX0" fmla="*/ 0 w 688182"/>
              <a:gd name="connsiteY0" fmla="*/ 950119 h 950119"/>
              <a:gd name="connsiteX1" fmla="*/ 611982 w 688182"/>
              <a:gd name="connsiteY1" fmla="*/ 950119 h 950119"/>
              <a:gd name="connsiteX2" fmla="*/ 688182 w 688182"/>
              <a:gd name="connsiteY2" fmla="*/ 0 h 950119"/>
              <a:gd name="connsiteX3" fmla="*/ 111919 w 688182"/>
              <a:gd name="connsiteY3" fmla="*/ 95250 h 950119"/>
              <a:gd name="connsiteX4" fmla="*/ 0 w 688182"/>
              <a:gd name="connsiteY4" fmla="*/ 950119 h 950119"/>
              <a:gd name="connsiteX0" fmla="*/ 0 w 723900"/>
              <a:gd name="connsiteY0" fmla="*/ 1395413 h 1395413"/>
              <a:gd name="connsiteX1" fmla="*/ 611982 w 723900"/>
              <a:gd name="connsiteY1" fmla="*/ 1395413 h 1395413"/>
              <a:gd name="connsiteX2" fmla="*/ 723900 w 723900"/>
              <a:gd name="connsiteY2" fmla="*/ 0 h 1395413"/>
              <a:gd name="connsiteX3" fmla="*/ 111919 w 723900"/>
              <a:gd name="connsiteY3" fmla="*/ 540544 h 1395413"/>
              <a:gd name="connsiteX4" fmla="*/ 0 w 723900"/>
              <a:gd name="connsiteY4" fmla="*/ 1395413 h 1395413"/>
              <a:gd name="connsiteX0" fmla="*/ 0 w 723900"/>
              <a:gd name="connsiteY0" fmla="*/ 2031206 h 2031206"/>
              <a:gd name="connsiteX1" fmla="*/ 611982 w 723900"/>
              <a:gd name="connsiteY1" fmla="*/ 2031206 h 2031206"/>
              <a:gd name="connsiteX2" fmla="*/ 723900 w 723900"/>
              <a:gd name="connsiteY2" fmla="*/ 635793 h 2031206"/>
              <a:gd name="connsiteX3" fmla="*/ 266700 w 723900"/>
              <a:gd name="connsiteY3" fmla="*/ 0 h 2031206"/>
              <a:gd name="connsiteX4" fmla="*/ 0 w 723900"/>
              <a:gd name="connsiteY4" fmla="*/ 2031206 h 2031206"/>
              <a:gd name="connsiteX0" fmla="*/ 0 w 723900"/>
              <a:gd name="connsiteY0" fmla="*/ 2195513 h 2195513"/>
              <a:gd name="connsiteX1" fmla="*/ 611982 w 723900"/>
              <a:gd name="connsiteY1" fmla="*/ 2195513 h 2195513"/>
              <a:gd name="connsiteX2" fmla="*/ 723900 w 723900"/>
              <a:gd name="connsiteY2" fmla="*/ 800100 h 2195513"/>
              <a:gd name="connsiteX3" fmla="*/ 283369 w 723900"/>
              <a:gd name="connsiteY3" fmla="*/ 0 h 2195513"/>
              <a:gd name="connsiteX4" fmla="*/ 0 w 723900"/>
              <a:gd name="connsiteY4" fmla="*/ 2195513 h 2195513"/>
              <a:gd name="connsiteX0" fmla="*/ 0 w 723900"/>
              <a:gd name="connsiteY0" fmla="*/ 2195513 h 2195513"/>
              <a:gd name="connsiteX1" fmla="*/ 611982 w 723900"/>
              <a:gd name="connsiteY1" fmla="*/ 2195513 h 2195513"/>
              <a:gd name="connsiteX2" fmla="*/ 723900 w 723900"/>
              <a:gd name="connsiteY2" fmla="*/ 800100 h 2195513"/>
              <a:gd name="connsiteX3" fmla="*/ 500063 w 723900"/>
              <a:gd name="connsiteY3" fmla="*/ 388145 h 2195513"/>
              <a:gd name="connsiteX4" fmla="*/ 283369 w 723900"/>
              <a:gd name="connsiteY4" fmla="*/ 0 h 2195513"/>
              <a:gd name="connsiteX5" fmla="*/ 0 w 723900"/>
              <a:gd name="connsiteY5" fmla="*/ 2195513 h 2195513"/>
              <a:gd name="connsiteX0" fmla="*/ 0 w 945356"/>
              <a:gd name="connsiteY0" fmla="*/ 2195513 h 2195513"/>
              <a:gd name="connsiteX1" fmla="*/ 611982 w 945356"/>
              <a:gd name="connsiteY1" fmla="*/ 2195513 h 2195513"/>
              <a:gd name="connsiteX2" fmla="*/ 723900 w 945356"/>
              <a:gd name="connsiteY2" fmla="*/ 800100 h 2195513"/>
              <a:gd name="connsiteX3" fmla="*/ 945356 w 945356"/>
              <a:gd name="connsiteY3" fmla="*/ 2382 h 2195513"/>
              <a:gd name="connsiteX4" fmla="*/ 283369 w 945356"/>
              <a:gd name="connsiteY4" fmla="*/ 0 h 2195513"/>
              <a:gd name="connsiteX5" fmla="*/ 0 w 945356"/>
              <a:gd name="connsiteY5" fmla="*/ 2195513 h 2195513"/>
              <a:gd name="connsiteX0" fmla="*/ 0 w 945356"/>
              <a:gd name="connsiteY0" fmla="*/ 2195513 h 2195513"/>
              <a:gd name="connsiteX1" fmla="*/ 611982 w 945356"/>
              <a:gd name="connsiteY1" fmla="*/ 2195513 h 2195513"/>
              <a:gd name="connsiteX2" fmla="*/ 723900 w 945356"/>
              <a:gd name="connsiteY2" fmla="*/ 800100 h 2195513"/>
              <a:gd name="connsiteX3" fmla="*/ 790575 w 945356"/>
              <a:gd name="connsiteY3" fmla="*/ 545308 h 2195513"/>
              <a:gd name="connsiteX4" fmla="*/ 945356 w 945356"/>
              <a:gd name="connsiteY4" fmla="*/ 2382 h 2195513"/>
              <a:gd name="connsiteX5" fmla="*/ 283369 w 945356"/>
              <a:gd name="connsiteY5" fmla="*/ 0 h 2195513"/>
              <a:gd name="connsiteX6" fmla="*/ 0 w 945356"/>
              <a:gd name="connsiteY6" fmla="*/ 2195513 h 2195513"/>
              <a:gd name="connsiteX0" fmla="*/ 0 w 1252537"/>
              <a:gd name="connsiteY0" fmla="*/ 2195513 h 2195513"/>
              <a:gd name="connsiteX1" fmla="*/ 611982 w 1252537"/>
              <a:gd name="connsiteY1" fmla="*/ 2195513 h 2195513"/>
              <a:gd name="connsiteX2" fmla="*/ 723900 w 1252537"/>
              <a:gd name="connsiteY2" fmla="*/ 800100 h 2195513"/>
              <a:gd name="connsiteX3" fmla="*/ 1252537 w 1252537"/>
              <a:gd name="connsiteY3" fmla="*/ 1333501 h 2195513"/>
              <a:gd name="connsiteX4" fmla="*/ 945356 w 1252537"/>
              <a:gd name="connsiteY4" fmla="*/ 2382 h 2195513"/>
              <a:gd name="connsiteX5" fmla="*/ 283369 w 1252537"/>
              <a:gd name="connsiteY5" fmla="*/ 0 h 2195513"/>
              <a:gd name="connsiteX6" fmla="*/ 0 w 1252537"/>
              <a:gd name="connsiteY6" fmla="*/ 2195513 h 2195513"/>
              <a:gd name="connsiteX0" fmla="*/ 0 w 1252537"/>
              <a:gd name="connsiteY0" fmla="*/ 2195513 h 2195513"/>
              <a:gd name="connsiteX1" fmla="*/ 611982 w 1252537"/>
              <a:gd name="connsiteY1" fmla="*/ 2195513 h 2195513"/>
              <a:gd name="connsiteX2" fmla="*/ 723900 w 1252537"/>
              <a:gd name="connsiteY2" fmla="*/ 800100 h 2195513"/>
              <a:gd name="connsiteX3" fmla="*/ 1031082 w 1252537"/>
              <a:gd name="connsiteY3" fmla="*/ 1112045 h 2195513"/>
              <a:gd name="connsiteX4" fmla="*/ 1252537 w 1252537"/>
              <a:gd name="connsiteY4" fmla="*/ 1333501 h 2195513"/>
              <a:gd name="connsiteX5" fmla="*/ 945356 w 1252537"/>
              <a:gd name="connsiteY5" fmla="*/ 2382 h 2195513"/>
              <a:gd name="connsiteX6" fmla="*/ 283369 w 1252537"/>
              <a:gd name="connsiteY6" fmla="*/ 0 h 2195513"/>
              <a:gd name="connsiteX7" fmla="*/ 0 w 1252537"/>
              <a:gd name="connsiteY7" fmla="*/ 2195513 h 2195513"/>
              <a:gd name="connsiteX0" fmla="*/ 0 w 1252537"/>
              <a:gd name="connsiteY0" fmla="*/ 2195513 h 2195513"/>
              <a:gd name="connsiteX1" fmla="*/ 611982 w 1252537"/>
              <a:gd name="connsiteY1" fmla="*/ 2195513 h 2195513"/>
              <a:gd name="connsiteX2" fmla="*/ 723900 w 1252537"/>
              <a:gd name="connsiteY2" fmla="*/ 800100 h 2195513"/>
              <a:gd name="connsiteX3" fmla="*/ 1007270 w 1252537"/>
              <a:gd name="connsiteY3" fmla="*/ 2193132 h 2195513"/>
              <a:gd name="connsiteX4" fmla="*/ 1252537 w 1252537"/>
              <a:gd name="connsiteY4" fmla="*/ 1333501 h 2195513"/>
              <a:gd name="connsiteX5" fmla="*/ 945356 w 1252537"/>
              <a:gd name="connsiteY5" fmla="*/ 2382 h 2195513"/>
              <a:gd name="connsiteX6" fmla="*/ 283369 w 1252537"/>
              <a:gd name="connsiteY6" fmla="*/ 0 h 2195513"/>
              <a:gd name="connsiteX7" fmla="*/ 0 w 1252537"/>
              <a:gd name="connsiteY7" fmla="*/ 2195513 h 2195513"/>
              <a:gd name="connsiteX0" fmla="*/ 0 w 1252537"/>
              <a:gd name="connsiteY0" fmla="*/ 2195513 h 2195513"/>
              <a:gd name="connsiteX1" fmla="*/ 611982 w 1252537"/>
              <a:gd name="connsiteY1" fmla="*/ 2195513 h 2195513"/>
              <a:gd name="connsiteX2" fmla="*/ 723900 w 1252537"/>
              <a:gd name="connsiteY2" fmla="*/ 800100 h 2195513"/>
              <a:gd name="connsiteX3" fmla="*/ 1007270 w 1252537"/>
              <a:gd name="connsiteY3" fmla="*/ 2193132 h 2195513"/>
              <a:gd name="connsiteX4" fmla="*/ 1173957 w 1252537"/>
              <a:gd name="connsiteY4" fmla="*/ 1600202 h 2195513"/>
              <a:gd name="connsiteX5" fmla="*/ 1252537 w 1252537"/>
              <a:gd name="connsiteY5" fmla="*/ 1333501 h 2195513"/>
              <a:gd name="connsiteX6" fmla="*/ 945356 w 1252537"/>
              <a:gd name="connsiteY6" fmla="*/ 2382 h 2195513"/>
              <a:gd name="connsiteX7" fmla="*/ 283369 w 1252537"/>
              <a:gd name="connsiteY7" fmla="*/ 0 h 2195513"/>
              <a:gd name="connsiteX8" fmla="*/ 0 w 1252537"/>
              <a:gd name="connsiteY8" fmla="*/ 2195513 h 2195513"/>
              <a:gd name="connsiteX0" fmla="*/ 0 w 1488282"/>
              <a:gd name="connsiteY0" fmla="*/ 2195513 h 2195514"/>
              <a:gd name="connsiteX1" fmla="*/ 611982 w 1488282"/>
              <a:gd name="connsiteY1" fmla="*/ 2195513 h 2195514"/>
              <a:gd name="connsiteX2" fmla="*/ 723900 w 1488282"/>
              <a:gd name="connsiteY2" fmla="*/ 800100 h 2195514"/>
              <a:gd name="connsiteX3" fmla="*/ 1007270 w 1488282"/>
              <a:gd name="connsiteY3" fmla="*/ 2193132 h 2195514"/>
              <a:gd name="connsiteX4" fmla="*/ 1488282 w 1488282"/>
              <a:gd name="connsiteY4" fmla="*/ 2195514 h 2195514"/>
              <a:gd name="connsiteX5" fmla="*/ 1252537 w 1488282"/>
              <a:gd name="connsiteY5" fmla="*/ 1333501 h 2195514"/>
              <a:gd name="connsiteX6" fmla="*/ 945356 w 1488282"/>
              <a:gd name="connsiteY6" fmla="*/ 2382 h 2195514"/>
              <a:gd name="connsiteX7" fmla="*/ 283369 w 1488282"/>
              <a:gd name="connsiteY7" fmla="*/ 0 h 2195514"/>
              <a:gd name="connsiteX8" fmla="*/ 0 w 1488282"/>
              <a:gd name="connsiteY8" fmla="*/ 2195513 h 2195514"/>
              <a:gd name="connsiteX0" fmla="*/ 0 w 1488282"/>
              <a:gd name="connsiteY0" fmla="*/ 2195513 h 2195514"/>
              <a:gd name="connsiteX1" fmla="*/ 611982 w 1488282"/>
              <a:gd name="connsiteY1" fmla="*/ 2195513 h 2195514"/>
              <a:gd name="connsiteX2" fmla="*/ 723900 w 1488282"/>
              <a:gd name="connsiteY2" fmla="*/ 800100 h 2195514"/>
              <a:gd name="connsiteX3" fmla="*/ 1007270 w 1488282"/>
              <a:gd name="connsiteY3" fmla="*/ 2193132 h 2195514"/>
              <a:gd name="connsiteX4" fmla="*/ 1488282 w 1488282"/>
              <a:gd name="connsiteY4" fmla="*/ 2195514 h 2195514"/>
              <a:gd name="connsiteX5" fmla="*/ 1352549 w 1488282"/>
              <a:gd name="connsiteY5" fmla="*/ 1690688 h 2195514"/>
              <a:gd name="connsiteX6" fmla="*/ 1252537 w 1488282"/>
              <a:gd name="connsiteY6" fmla="*/ 1333501 h 2195514"/>
              <a:gd name="connsiteX7" fmla="*/ 945356 w 1488282"/>
              <a:gd name="connsiteY7" fmla="*/ 2382 h 2195514"/>
              <a:gd name="connsiteX8" fmla="*/ 283369 w 1488282"/>
              <a:gd name="connsiteY8" fmla="*/ 0 h 2195514"/>
              <a:gd name="connsiteX9" fmla="*/ 0 w 1488282"/>
              <a:gd name="connsiteY9" fmla="*/ 2195513 h 2195514"/>
              <a:gd name="connsiteX0" fmla="*/ 0 w 1781174"/>
              <a:gd name="connsiteY0" fmla="*/ 2195513 h 2195514"/>
              <a:gd name="connsiteX1" fmla="*/ 611982 w 1781174"/>
              <a:gd name="connsiteY1" fmla="*/ 2195513 h 2195514"/>
              <a:gd name="connsiteX2" fmla="*/ 723900 w 1781174"/>
              <a:gd name="connsiteY2" fmla="*/ 800100 h 2195514"/>
              <a:gd name="connsiteX3" fmla="*/ 1007270 w 1781174"/>
              <a:gd name="connsiteY3" fmla="*/ 2193132 h 2195514"/>
              <a:gd name="connsiteX4" fmla="*/ 1488282 w 1781174"/>
              <a:gd name="connsiteY4" fmla="*/ 2195514 h 2195514"/>
              <a:gd name="connsiteX5" fmla="*/ 1781174 w 1781174"/>
              <a:gd name="connsiteY5" fmla="*/ 792957 h 2195514"/>
              <a:gd name="connsiteX6" fmla="*/ 1252537 w 1781174"/>
              <a:gd name="connsiteY6" fmla="*/ 1333501 h 2195514"/>
              <a:gd name="connsiteX7" fmla="*/ 945356 w 1781174"/>
              <a:gd name="connsiteY7" fmla="*/ 2382 h 2195514"/>
              <a:gd name="connsiteX8" fmla="*/ 283369 w 1781174"/>
              <a:gd name="connsiteY8" fmla="*/ 0 h 2195514"/>
              <a:gd name="connsiteX9" fmla="*/ 0 w 1781174"/>
              <a:gd name="connsiteY9" fmla="*/ 2195513 h 2195514"/>
              <a:gd name="connsiteX0" fmla="*/ 0 w 1781174"/>
              <a:gd name="connsiteY0" fmla="*/ 2195513 h 2195514"/>
              <a:gd name="connsiteX1" fmla="*/ 611982 w 1781174"/>
              <a:gd name="connsiteY1" fmla="*/ 2195513 h 2195514"/>
              <a:gd name="connsiteX2" fmla="*/ 723900 w 1781174"/>
              <a:gd name="connsiteY2" fmla="*/ 800100 h 2195514"/>
              <a:gd name="connsiteX3" fmla="*/ 1007270 w 1781174"/>
              <a:gd name="connsiteY3" fmla="*/ 2193132 h 2195514"/>
              <a:gd name="connsiteX4" fmla="*/ 1488282 w 1781174"/>
              <a:gd name="connsiteY4" fmla="*/ 2195514 h 2195514"/>
              <a:gd name="connsiteX5" fmla="*/ 1781174 w 1781174"/>
              <a:gd name="connsiteY5" fmla="*/ 792957 h 2195514"/>
              <a:gd name="connsiteX6" fmla="*/ 1528762 w 1781174"/>
              <a:gd name="connsiteY6" fmla="*/ 1052513 h 2195514"/>
              <a:gd name="connsiteX7" fmla="*/ 1252537 w 1781174"/>
              <a:gd name="connsiteY7" fmla="*/ 1333501 h 2195514"/>
              <a:gd name="connsiteX8" fmla="*/ 945356 w 1781174"/>
              <a:gd name="connsiteY8" fmla="*/ 2382 h 2195514"/>
              <a:gd name="connsiteX9" fmla="*/ 283369 w 1781174"/>
              <a:gd name="connsiteY9" fmla="*/ 0 h 2195514"/>
              <a:gd name="connsiteX10" fmla="*/ 0 w 1781174"/>
              <a:gd name="connsiteY10" fmla="*/ 2195513 h 2195514"/>
              <a:gd name="connsiteX0" fmla="*/ 0 w 1781174"/>
              <a:gd name="connsiteY0" fmla="*/ 2197894 h 2197895"/>
              <a:gd name="connsiteX1" fmla="*/ 611982 w 1781174"/>
              <a:gd name="connsiteY1" fmla="*/ 2197894 h 2197895"/>
              <a:gd name="connsiteX2" fmla="*/ 723900 w 1781174"/>
              <a:gd name="connsiteY2" fmla="*/ 802481 h 2197895"/>
              <a:gd name="connsiteX3" fmla="*/ 1007270 w 1781174"/>
              <a:gd name="connsiteY3" fmla="*/ 2195513 h 2197895"/>
              <a:gd name="connsiteX4" fmla="*/ 1488282 w 1781174"/>
              <a:gd name="connsiteY4" fmla="*/ 2197895 h 2197895"/>
              <a:gd name="connsiteX5" fmla="*/ 1781174 w 1781174"/>
              <a:gd name="connsiteY5" fmla="*/ 795338 h 2197895"/>
              <a:gd name="connsiteX6" fmla="*/ 1559719 w 1781174"/>
              <a:gd name="connsiteY6" fmla="*/ 0 h 2197895"/>
              <a:gd name="connsiteX7" fmla="*/ 1252537 w 1781174"/>
              <a:gd name="connsiteY7" fmla="*/ 1335882 h 2197895"/>
              <a:gd name="connsiteX8" fmla="*/ 945356 w 1781174"/>
              <a:gd name="connsiteY8" fmla="*/ 4763 h 2197895"/>
              <a:gd name="connsiteX9" fmla="*/ 283369 w 1781174"/>
              <a:gd name="connsiteY9" fmla="*/ 2381 h 2197895"/>
              <a:gd name="connsiteX10" fmla="*/ 0 w 1781174"/>
              <a:gd name="connsiteY10" fmla="*/ 2197894 h 2197895"/>
              <a:gd name="connsiteX0" fmla="*/ 0 w 1781174"/>
              <a:gd name="connsiteY0" fmla="*/ 2197894 h 2197895"/>
              <a:gd name="connsiteX1" fmla="*/ 611982 w 1781174"/>
              <a:gd name="connsiteY1" fmla="*/ 2197894 h 2197895"/>
              <a:gd name="connsiteX2" fmla="*/ 723900 w 1781174"/>
              <a:gd name="connsiteY2" fmla="*/ 802481 h 2197895"/>
              <a:gd name="connsiteX3" fmla="*/ 1007270 w 1781174"/>
              <a:gd name="connsiteY3" fmla="*/ 2195513 h 2197895"/>
              <a:gd name="connsiteX4" fmla="*/ 1488282 w 1781174"/>
              <a:gd name="connsiteY4" fmla="*/ 2197895 h 2197895"/>
              <a:gd name="connsiteX5" fmla="*/ 1781174 w 1781174"/>
              <a:gd name="connsiteY5" fmla="*/ 795338 h 2197895"/>
              <a:gd name="connsiteX6" fmla="*/ 1688306 w 1781174"/>
              <a:gd name="connsiteY6" fmla="*/ 454820 h 2197895"/>
              <a:gd name="connsiteX7" fmla="*/ 1559719 w 1781174"/>
              <a:gd name="connsiteY7" fmla="*/ 0 h 2197895"/>
              <a:gd name="connsiteX8" fmla="*/ 1252537 w 1781174"/>
              <a:gd name="connsiteY8" fmla="*/ 1335882 h 2197895"/>
              <a:gd name="connsiteX9" fmla="*/ 945356 w 1781174"/>
              <a:gd name="connsiteY9" fmla="*/ 4763 h 2197895"/>
              <a:gd name="connsiteX10" fmla="*/ 283369 w 1781174"/>
              <a:gd name="connsiteY10" fmla="*/ 2381 h 2197895"/>
              <a:gd name="connsiteX11" fmla="*/ 0 w 1781174"/>
              <a:gd name="connsiteY11" fmla="*/ 2197894 h 2197895"/>
              <a:gd name="connsiteX0" fmla="*/ 0 w 2212181"/>
              <a:gd name="connsiteY0" fmla="*/ 2197894 h 2197895"/>
              <a:gd name="connsiteX1" fmla="*/ 611982 w 2212181"/>
              <a:gd name="connsiteY1" fmla="*/ 2197894 h 2197895"/>
              <a:gd name="connsiteX2" fmla="*/ 723900 w 2212181"/>
              <a:gd name="connsiteY2" fmla="*/ 802481 h 2197895"/>
              <a:gd name="connsiteX3" fmla="*/ 1007270 w 2212181"/>
              <a:gd name="connsiteY3" fmla="*/ 2195513 h 2197895"/>
              <a:gd name="connsiteX4" fmla="*/ 1488282 w 2212181"/>
              <a:gd name="connsiteY4" fmla="*/ 2197895 h 2197895"/>
              <a:gd name="connsiteX5" fmla="*/ 1781174 w 2212181"/>
              <a:gd name="connsiteY5" fmla="*/ 795338 h 2197895"/>
              <a:gd name="connsiteX6" fmla="*/ 2212181 w 2212181"/>
              <a:gd name="connsiteY6" fmla="*/ 7145 h 2197895"/>
              <a:gd name="connsiteX7" fmla="*/ 1559719 w 2212181"/>
              <a:gd name="connsiteY7" fmla="*/ 0 h 2197895"/>
              <a:gd name="connsiteX8" fmla="*/ 1252537 w 2212181"/>
              <a:gd name="connsiteY8" fmla="*/ 1335882 h 2197895"/>
              <a:gd name="connsiteX9" fmla="*/ 945356 w 2212181"/>
              <a:gd name="connsiteY9" fmla="*/ 4763 h 2197895"/>
              <a:gd name="connsiteX10" fmla="*/ 283369 w 2212181"/>
              <a:gd name="connsiteY10" fmla="*/ 2381 h 2197895"/>
              <a:gd name="connsiteX11" fmla="*/ 0 w 2212181"/>
              <a:gd name="connsiteY11" fmla="*/ 2197894 h 2197895"/>
              <a:gd name="connsiteX0" fmla="*/ 0 w 2212181"/>
              <a:gd name="connsiteY0" fmla="*/ 2197894 h 2197895"/>
              <a:gd name="connsiteX1" fmla="*/ 611982 w 2212181"/>
              <a:gd name="connsiteY1" fmla="*/ 2197894 h 2197895"/>
              <a:gd name="connsiteX2" fmla="*/ 723900 w 2212181"/>
              <a:gd name="connsiteY2" fmla="*/ 802481 h 2197895"/>
              <a:gd name="connsiteX3" fmla="*/ 1007270 w 2212181"/>
              <a:gd name="connsiteY3" fmla="*/ 2195513 h 2197895"/>
              <a:gd name="connsiteX4" fmla="*/ 1488282 w 2212181"/>
              <a:gd name="connsiteY4" fmla="*/ 2197895 h 2197895"/>
              <a:gd name="connsiteX5" fmla="*/ 1781174 w 2212181"/>
              <a:gd name="connsiteY5" fmla="*/ 795338 h 2197895"/>
              <a:gd name="connsiteX6" fmla="*/ 2035968 w 2212181"/>
              <a:gd name="connsiteY6" fmla="*/ 328614 h 2197895"/>
              <a:gd name="connsiteX7" fmla="*/ 2212181 w 2212181"/>
              <a:gd name="connsiteY7" fmla="*/ 7145 h 2197895"/>
              <a:gd name="connsiteX8" fmla="*/ 1559719 w 2212181"/>
              <a:gd name="connsiteY8" fmla="*/ 0 h 2197895"/>
              <a:gd name="connsiteX9" fmla="*/ 1252537 w 2212181"/>
              <a:gd name="connsiteY9" fmla="*/ 1335882 h 2197895"/>
              <a:gd name="connsiteX10" fmla="*/ 945356 w 2212181"/>
              <a:gd name="connsiteY10" fmla="*/ 4763 h 2197895"/>
              <a:gd name="connsiteX11" fmla="*/ 283369 w 2212181"/>
              <a:gd name="connsiteY11" fmla="*/ 2381 h 2197895"/>
              <a:gd name="connsiteX12" fmla="*/ 0 w 2212181"/>
              <a:gd name="connsiteY12" fmla="*/ 2197894 h 2197895"/>
              <a:gd name="connsiteX0" fmla="*/ 0 w 2500312"/>
              <a:gd name="connsiteY0" fmla="*/ 2197894 h 2197895"/>
              <a:gd name="connsiteX1" fmla="*/ 611982 w 2500312"/>
              <a:gd name="connsiteY1" fmla="*/ 2197894 h 2197895"/>
              <a:gd name="connsiteX2" fmla="*/ 723900 w 2500312"/>
              <a:gd name="connsiteY2" fmla="*/ 802481 h 2197895"/>
              <a:gd name="connsiteX3" fmla="*/ 1007270 w 2500312"/>
              <a:gd name="connsiteY3" fmla="*/ 2195513 h 2197895"/>
              <a:gd name="connsiteX4" fmla="*/ 1488282 w 2500312"/>
              <a:gd name="connsiteY4" fmla="*/ 2197895 h 2197895"/>
              <a:gd name="connsiteX5" fmla="*/ 1781174 w 2500312"/>
              <a:gd name="connsiteY5" fmla="*/ 795338 h 2197895"/>
              <a:gd name="connsiteX6" fmla="*/ 2500312 w 2500312"/>
              <a:gd name="connsiteY6" fmla="*/ 2197895 h 2197895"/>
              <a:gd name="connsiteX7" fmla="*/ 2212181 w 2500312"/>
              <a:gd name="connsiteY7" fmla="*/ 7145 h 2197895"/>
              <a:gd name="connsiteX8" fmla="*/ 1559719 w 2500312"/>
              <a:gd name="connsiteY8" fmla="*/ 0 h 2197895"/>
              <a:gd name="connsiteX9" fmla="*/ 1252537 w 2500312"/>
              <a:gd name="connsiteY9" fmla="*/ 1335882 h 2197895"/>
              <a:gd name="connsiteX10" fmla="*/ 945356 w 2500312"/>
              <a:gd name="connsiteY10" fmla="*/ 4763 h 2197895"/>
              <a:gd name="connsiteX11" fmla="*/ 283369 w 2500312"/>
              <a:gd name="connsiteY11" fmla="*/ 2381 h 2197895"/>
              <a:gd name="connsiteX12" fmla="*/ 0 w 2500312"/>
              <a:gd name="connsiteY12" fmla="*/ 2197894 h 2197895"/>
              <a:gd name="connsiteX0" fmla="*/ 0 w 2500312"/>
              <a:gd name="connsiteY0" fmla="*/ 2197894 h 2197895"/>
              <a:gd name="connsiteX1" fmla="*/ 611982 w 2500312"/>
              <a:gd name="connsiteY1" fmla="*/ 2197894 h 2197895"/>
              <a:gd name="connsiteX2" fmla="*/ 723900 w 2500312"/>
              <a:gd name="connsiteY2" fmla="*/ 802481 h 2197895"/>
              <a:gd name="connsiteX3" fmla="*/ 1007270 w 2500312"/>
              <a:gd name="connsiteY3" fmla="*/ 2195513 h 2197895"/>
              <a:gd name="connsiteX4" fmla="*/ 1488282 w 2500312"/>
              <a:gd name="connsiteY4" fmla="*/ 2197895 h 2197895"/>
              <a:gd name="connsiteX5" fmla="*/ 1781174 w 2500312"/>
              <a:gd name="connsiteY5" fmla="*/ 795338 h 2197895"/>
              <a:gd name="connsiteX6" fmla="*/ 2190748 w 2500312"/>
              <a:gd name="connsiteY6" fmla="*/ 1595439 h 2197895"/>
              <a:gd name="connsiteX7" fmla="*/ 2500312 w 2500312"/>
              <a:gd name="connsiteY7" fmla="*/ 2197895 h 2197895"/>
              <a:gd name="connsiteX8" fmla="*/ 2212181 w 2500312"/>
              <a:gd name="connsiteY8" fmla="*/ 7145 h 2197895"/>
              <a:gd name="connsiteX9" fmla="*/ 1559719 w 2500312"/>
              <a:gd name="connsiteY9" fmla="*/ 0 h 2197895"/>
              <a:gd name="connsiteX10" fmla="*/ 1252537 w 2500312"/>
              <a:gd name="connsiteY10" fmla="*/ 1335882 h 2197895"/>
              <a:gd name="connsiteX11" fmla="*/ 945356 w 2500312"/>
              <a:gd name="connsiteY11" fmla="*/ 4763 h 2197895"/>
              <a:gd name="connsiteX12" fmla="*/ 283369 w 2500312"/>
              <a:gd name="connsiteY12" fmla="*/ 2381 h 2197895"/>
              <a:gd name="connsiteX13" fmla="*/ 0 w 2500312"/>
              <a:gd name="connsiteY13" fmla="*/ 2197894 h 2197895"/>
              <a:gd name="connsiteX0" fmla="*/ 0 w 2500312"/>
              <a:gd name="connsiteY0" fmla="*/ 2197894 h 2197895"/>
              <a:gd name="connsiteX1" fmla="*/ 611982 w 2500312"/>
              <a:gd name="connsiteY1" fmla="*/ 2197894 h 2197895"/>
              <a:gd name="connsiteX2" fmla="*/ 723900 w 2500312"/>
              <a:gd name="connsiteY2" fmla="*/ 802481 h 2197895"/>
              <a:gd name="connsiteX3" fmla="*/ 1007270 w 2500312"/>
              <a:gd name="connsiteY3" fmla="*/ 2195513 h 2197895"/>
              <a:gd name="connsiteX4" fmla="*/ 1488282 w 2500312"/>
              <a:gd name="connsiteY4" fmla="*/ 2197895 h 2197895"/>
              <a:gd name="connsiteX5" fmla="*/ 1781174 w 2500312"/>
              <a:gd name="connsiteY5" fmla="*/ 795338 h 2197895"/>
              <a:gd name="connsiteX6" fmla="*/ 1883567 w 2500312"/>
              <a:gd name="connsiteY6" fmla="*/ 2195514 h 2197895"/>
              <a:gd name="connsiteX7" fmla="*/ 2500312 w 2500312"/>
              <a:gd name="connsiteY7" fmla="*/ 2197895 h 2197895"/>
              <a:gd name="connsiteX8" fmla="*/ 2212181 w 2500312"/>
              <a:gd name="connsiteY8" fmla="*/ 7145 h 2197895"/>
              <a:gd name="connsiteX9" fmla="*/ 1559719 w 2500312"/>
              <a:gd name="connsiteY9" fmla="*/ 0 h 2197895"/>
              <a:gd name="connsiteX10" fmla="*/ 1252537 w 2500312"/>
              <a:gd name="connsiteY10" fmla="*/ 1335882 h 2197895"/>
              <a:gd name="connsiteX11" fmla="*/ 945356 w 2500312"/>
              <a:gd name="connsiteY11" fmla="*/ 4763 h 2197895"/>
              <a:gd name="connsiteX12" fmla="*/ 283369 w 2500312"/>
              <a:gd name="connsiteY12" fmla="*/ 2381 h 2197895"/>
              <a:gd name="connsiteX13" fmla="*/ 0 w 2500312"/>
              <a:gd name="connsiteY13" fmla="*/ 2197894 h 2197895"/>
              <a:gd name="connsiteX0" fmla="*/ 0 w 2500312"/>
              <a:gd name="connsiteY0" fmla="*/ 2197894 h 2197895"/>
              <a:gd name="connsiteX1" fmla="*/ 611982 w 2500312"/>
              <a:gd name="connsiteY1" fmla="*/ 2197894 h 2197895"/>
              <a:gd name="connsiteX2" fmla="*/ 723900 w 2500312"/>
              <a:gd name="connsiteY2" fmla="*/ 802481 h 2197895"/>
              <a:gd name="connsiteX3" fmla="*/ 1007270 w 2500312"/>
              <a:gd name="connsiteY3" fmla="*/ 2195513 h 2197895"/>
              <a:gd name="connsiteX4" fmla="*/ 1488282 w 2500312"/>
              <a:gd name="connsiteY4" fmla="*/ 2197895 h 2197895"/>
              <a:gd name="connsiteX5" fmla="*/ 1776411 w 2500312"/>
              <a:gd name="connsiteY5" fmla="*/ 809626 h 2197895"/>
              <a:gd name="connsiteX6" fmla="*/ 1883567 w 2500312"/>
              <a:gd name="connsiteY6" fmla="*/ 2195514 h 2197895"/>
              <a:gd name="connsiteX7" fmla="*/ 2500312 w 2500312"/>
              <a:gd name="connsiteY7" fmla="*/ 2197895 h 2197895"/>
              <a:gd name="connsiteX8" fmla="*/ 2212181 w 2500312"/>
              <a:gd name="connsiteY8" fmla="*/ 7145 h 2197895"/>
              <a:gd name="connsiteX9" fmla="*/ 1559719 w 2500312"/>
              <a:gd name="connsiteY9" fmla="*/ 0 h 2197895"/>
              <a:gd name="connsiteX10" fmla="*/ 1252537 w 2500312"/>
              <a:gd name="connsiteY10" fmla="*/ 1335882 h 2197895"/>
              <a:gd name="connsiteX11" fmla="*/ 945356 w 2500312"/>
              <a:gd name="connsiteY11" fmla="*/ 4763 h 2197895"/>
              <a:gd name="connsiteX12" fmla="*/ 283369 w 2500312"/>
              <a:gd name="connsiteY12" fmla="*/ 2381 h 2197895"/>
              <a:gd name="connsiteX13" fmla="*/ 0 w 2500312"/>
              <a:gd name="connsiteY13" fmla="*/ 2197894 h 2197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500312" h="2197895">
                <a:moveTo>
                  <a:pt x="0" y="2197894"/>
                </a:moveTo>
                <a:lnTo>
                  <a:pt x="611982" y="2197894"/>
                </a:lnTo>
                <a:lnTo>
                  <a:pt x="723900" y="802481"/>
                </a:lnTo>
                <a:lnTo>
                  <a:pt x="1007270" y="2195513"/>
                </a:lnTo>
                <a:lnTo>
                  <a:pt x="1488282" y="2197895"/>
                </a:lnTo>
                <a:lnTo>
                  <a:pt x="1776411" y="809626"/>
                </a:lnTo>
                <a:lnTo>
                  <a:pt x="1883567" y="2195514"/>
                </a:lnTo>
                <a:lnTo>
                  <a:pt x="2500312" y="2197895"/>
                </a:lnTo>
                <a:lnTo>
                  <a:pt x="2212181" y="7145"/>
                </a:lnTo>
                <a:lnTo>
                  <a:pt x="1559719" y="0"/>
                </a:lnTo>
                <a:lnTo>
                  <a:pt x="1252537" y="1335882"/>
                </a:lnTo>
                <a:lnTo>
                  <a:pt x="945356" y="4763"/>
                </a:lnTo>
                <a:lnTo>
                  <a:pt x="283369" y="2381"/>
                </a:lnTo>
                <a:lnTo>
                  <a:pt x="0" y="2197894"/>
                </a:lnTo>
                <a:close/>
              </a:path>
            </a:pathLst>
          </a:custGeom>
          <a:solidFill>
            <a:srgbClr val="0F238C"/>
          </a:solidFill>
          <a:ln w="190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noProof="0">
              <a:solidFill>
                <a:schemeClr val="accent1"/>
              </a:solidFill>
            </a:endParaRPr>
          </a:p>
        </p:txBody>
      </p:sp>
      <p:sp>
        <p:nvSpPr>
          <p:cNvPr id="29" name="Freeform 28"/>
          <p:cNvSpPr/>
          <p:nvPr userDrawn="1"/>
        </p:nvSpPr>
        <p:spPr>
          <a:xfrm>
            <a:off x="2304321" y="2938984"/>
            <a:ext cx="371220" cy="578852"/>
          </a:xfrm>
          <a:custGeom>
            <a:avLst/>
            <a:gdLst>
              <a:gd name="connsiteX0" fmla="*/ 0 w 1428750"/>
              <a:gd name="connsiteY0" fmla="*/ 997744 h 997744"/>
              <a:gd name="connsiteX1" fmla="*/ 1404937 w 1428750"/>
              <a:gd name="connsiteY1" fmla="*/ 997744 h 997744"/>
              <a:gd name="connsiteX2" fmla="*/ 1404937 w 1428750"/>
              <a:gd name="connsiteY2" fmla="*/ 538163 h 997744"/>
              <a:gd name="connsiteX3" fmla="*/ 1428750 w 1428750"/>
              <a:gd name="connsiteY3" fmla="*/ 540544 h 997744"/>
              <a:gd name="connsiteX4" fmla="*/ 590550 w 1428750"/>
              <a:gd name="connsiteY4" fmla="*/ 540544 h 997744"/>
              <a:gd name="connsiteX5" fmla="*/ 590550 w 1428750"/>
              <a:gd name="connsiteY5" fmla="*/ 0 h 997744"/>
              <a:gd name="connsiteX6" fmla="*/ 0 w 1428750"/>
              <a:gd name="connsiteY6" fmla="*/ 0 h 997744"/>
              <a:gd name="connsiteX7" fmla="*/ 0 w 1428750"/>
              <a:gd name="connsiteY7" fmla="*/ 997744 h 997744"/>
              <a:gd name="connsiteX0" fmla="*/ 0 w 1404937"/>
              <a:gd name="connsiteY0" fmla="*/ 997744 h 997744"/>
              <a:gd name="connsiteX1" fmla="*/ 1404937 w 1404937"/>
              <a:gd name="connsiteY1" fmla="*/ 997744 h 997744"/>
              <a:gd name="connsiteX2" fmla="*/ 1404937 w 1404937"/>
              <a:gd name="connsiteY2" fmla="*/ 538163 h 997744"/>
              <a:gd name="connsiteX3" fmla="*/ 1219200 w 1404937"/>
              <a:gd name="connsiteY3" fmla="*/ 476250 h 997744"/>
              <a:gd name="connsiteX4" fmla="*/ 590550 w 1404937"/>
              <a:gd name="connsiteY4" fmla="*/ 540544 h 997744"/>
              <a:gd name="connsiteX5" fmla="*/ 590550 w 1404937"/>
              <a:gd name="connsiteY5" fmla="*/ 0 h 997744"/>
              <a:gd name="connsiteX6" fmla="*/ 0 w 1404937"/>
              <a:gd name="connsiteY6" fmla="*/ 0 h 997744"/>
              <a:gd name="connsiteX7" fmla="*/ 0 w 1404937"/>
              <a:gd name="connsiteY7" fmla="*/ 997744 h 997744"/>
              <a:gd name="connsiteX0" fmla="*/ 0 w 1404937"/>
              <a:gd name="connsiteY0" fmla="*/ 997744 h 997744"/>
              <a:gd name="connsiteX1" fmla="*/ 1404937 w 1404937"/>
              <a:gd name="connsiteY1" fmla="*/ 997744 h 997744"/>
              <a:gd name="connsiteX2" fmla="*/ 1404937 w 1404937"/>
              <a:gd name="connsiteY2" fmla="*/ 538163 h 997744"/>
              <a:gd name="connsiteX3" fmla="*/ 590550 w 1404937"/>
              <a:gd name="connsiteY3" fmla="*/ 540544 h 997744"/>
              <a:gd name="connsiteX4" fmla="*/ 590550 w 1404937"/>
              <a:gd name="connsiteY4" fmla="*/ 0 h 997744"/>
              <a:gd name="connsiteX5" fmla="*/ 0 w 1404937"/>
              <a:gd name="connsiteY5" fmla="*/ 0 h 997744"/>
              <a:gd name="connsiteX6" fmla="*/ 0 w 1404937"/>
              <a:gd name="connsiteY6" fmla="*/ 997744 h 997744"/>
              <a:gd name="connsiteX0" fmla="*/ 0 w 1404937"/>
              <a:gd name="connsiteY0" fmla="*/ 1614488 h 1614488"/>
              <a:gd name="connsiteX1" fmla="*/ 1404937 w 1404937"/>
              <a:gd name="connsiteY1" fmla="*/ 1614488 h 1614488"/>
              <a:gd name="connsiteX2" fmla="*/ 1404937 w 1404937"/>
              <a:gd name="connsiteY2" fmla="*/ 1154907 h 1614488"/>
              <a:gd name="connsiteX3" fmla="*/ 590550 w 1404937"/>
              <a:gd name="connsiteY3" fmla="*/ 1157288 h 1614488"/>
              <a:gd name="connsiteX4" fmla="*/ 592931 w 1404937"/>
              <a:gd name="connsiteY4" fmla="*/ 0 h 1614488"/>
              <a:gd name="connsiteX5" fmla="*/ 0 w 1404937"/>
              <a:gd name="connsiteY5" fmla="*/ 616744 h 1614488"/>
              <a:gd name="connsiteX6" fmla="*/ 0 w 1404937"/>
              <a:gd name="connsiteY6" fmla="*/ 1614488 h 1614488"/>
              <a:gd name="connsiteX0" fmla="*/ 0 w 1404937"/>
              <a:gd name="connsiteY0" fmla="*/ 2188369 h 2188369"/>
              <a:gd name="connsiteX1" fmla="*/ 1404937 w 1404937"/>
              <a:gd name="connsiteY1" fmla="*/ 2188369 h 2188369"/>
              <a:gd name="connsiteX2" fmla="*/ 1404937 w 1404937"/>
              <a:gd name="connsiteY2" fmla="*/ 1728788 h 2188369"/>
              <a:gd name="connsiteX3" fmla="*/ 590550 w 1404937"/>
              <a:gd name="connsiteY3" fmla="*/ 1731169 h 2188369"/>
              <a:gd name="connsiteX4" fmla="*/ 592931 w 1404937"/>
              <a:gd name="connsiteY4" fmla="*/ 573881 h 2188369"/>
              <a:gd name="connsiteX5" fmla="*/ 2382 w 1404937"/>
              <a:gd name="connsiteY5" fmla="*/ 0 h 2188369"/>
              <a:gd name="connsiteX6" fmla="*/ 0 w 1404937"/>
              <a:gd name="connsiteY6" fmla="*/ 2188369 h 2188369"/>
              <a:gd name="connsiteX0" fmla="*/ 0 w 1404937"/>
              <a:gd name="connsiteY0" fmla="*/ 2190750 h 2190750"/>
              <a:gd name="connsiteX1" fmla="*/ 1404937 w 1404937"/>
              <a:gd name="connsiteY1" fmla="*/ 2190750 h 2190750"/>
              <a:gd name="connsiteX2" fmla="*/ 1404937 w 1404937"/>
              <a:gd name="connsiteY2" fmla="*/ 1731169 h 2190750"/>
              <a:gd name="connsiteX3" fmla="*/ 590550 w 1404937"/>
              <a:gd name="connsiteY3" fmla="*/ 1733550 h 2190750"/>
              <a:gd name="connsiteX4" fmla="*/ 592931 w 1404937"/>
              <a:gd name="connsiteY4" fmla="*/ 0 h 2190750"/>
              <a:gd name="connsiteX5" fmla="*/ 2382 w 1404937"/>
              <a:gd name="connsiteY5" fmla="*/ 2381 h 2190750"/>
              <a:gd name="connsiteX6" fmla="*/ 0 w 1404937"/>
              <a:gd name="connsiteY6" fmla="*/ 2190750 h 2190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04937" h="2190750">
                <a:moveTo>
                  <a:pt x="0" y="2190750"/>
                </a:moveTo>
                <a:lnTo>
                  <a:pt x="1404937" y="2190750"/>
                </a:lnTo>
                <a:lnTo>
                  <a:pt x="1404937" y="1731169"/>
                </a:lnTo>
                <a:lnTo>
                  <a:pt x="590550" y="1733550"/>
                </a:lnTo>
                <a:cubicBezTo>
                  <a:pt x="591344" y="1347787"/>
                  <a:pt x="592137" y="385763"/>
                  <a:pt x="592931" y="0"/>
                </a:cubicBezTo>
                <a:lnTo>
                  <a:pt x="2382" y="2381"/>
                </a:lnTo>
                <a:cubicBezTo>
                  <a:pt x="3969" y="334962"/>
                  <a:pt x="3175" y="1858169"/>
                  <a:pt x="0" y="2190750"/>
                </a:cubicBezTo>
                <a:close/>
              </a:path>
            </a:pathLst>
          </a:custGeom>
          <a:solidFill>
            <a:srgbClr val="0F238C"/>
          </a:solidFill>
          <a:ln w="190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noProof="0">
              <a:solidFill>
                <a:schemeClr val="accent1"/>
              </a:solidFill>
            </a:endParaRPr>
          </a:p>
        </p:txBody>
      </p:sp>
      <p:sp>
        <p:nvSpPr>
          <p:cNvPr id="30" name="Freeform 29"/>
          <p:cNvSpPr/>
          <p:nvPr userDrawn="1"/>
        </p:nvSpPr>
        <p:spPr>
          <a:xfrm>
            <a:off x="1082055" y="3054754"/>
            <a:ext cx="429762" cy="475680"/>
          </a:xfrm>
          <a:custGeom>
            <a:avLst/>
            <a:gdLst>
              <a:gd name="connsiteX0" fmla="*/ 0 w 483394"/>
              <a:gd name="connsiteY0" fmla="*/ 0 h 645319"/>
              <a:gd name="connsiteX1" fmla="*/ 0 w 483394"/>
              <a:gd name="connsiteY1" fmla="*/ 528638 h 645319"/>
              <a:gd name="connsiteX2" fmla="*/ 33338 w 483394"/>
              <a:gd name="connsiteY2" fmla="*/ 528638 h 645319"/>
              <a:gd name="connsiteX3" fmla="*/ 381000 w 483394"/>
              <a:gd name="connsiteY3" fmla="*/ 645319 h 645319"/>
              <a:gd name="connsiteX4" fmla="*/ 483394 w 483394"/>
              <a:gd name="connsiteY4" fmla="*/ 216694 h 645319"/>
              <a:gd name="connsiteX5" fmla="*/ 0 w 483394"/>
              <a:gd name="connsiteY5" fmla="*/ 0 h 645319"/>
              <a:gd name="connsiteX0" fmla="*/ 0 w 1626394"/>
              <a:gd name="connsiteY0" fmla="*/ 0 h 528638"/>
              <a:gd name="connsiteX1" fmla="*/ 0 w 1626394"/>
              <a:gd name="connsiteY1" fmla="*/ 528638 h 528638"/>
              <a:gd name="connsiteX2" fmla="*/ 33338 w 1626394"/>
              <a:gd name="connsiteY2" fmla="*/ 528638 h 528638"/>
              <a:gd name="connsiteX3" fmla="*/ 1626394 w 1626394"/>
              <a:gd name="connsiteY3" fmla="*/ 7144 h 528638"/>
              <a:gd name="connsiteX4" fmla="*/ 483394 w 1626394"/>
              <a:gd name="connsiteY4" fmla="*/ 216694 h 528638"/>
              <a:gd name="connsiteX5" fmla="*/ 0 w 1626394"/>
              <a:gd name="connsiteY5" fmla="*/ 0 h 528638"/>
              <a:gd name="connsiteX0" fmla="*/ 0 w 1626394"/>
              <a:gd name="connsiteY0" fmla="*/ 0 h 528638"/>
              <a:gd name="connsiteX1" fmla="*/ 0 w 1626394"/>
              <a:gd name="connsiteY1" fmla="*/ 528638 h 528638"/>
              <a:gd name="connsiteX2" fmla="*/ 33338 w 1626394"/>
              <a:gd name="connsiteY2" fmla="*/ 528638 h 528638"/>
              <a:gd name="connsiteX3" fmla="*/ 1626394 w 1626394"/>
              <a:gd name="connsiteY3" fmla="*/ 7144 h 528638"/>
              <a:gd name="connsiteX4" fmla="*/ 483394 w 1626394"/>
              <a:gd name="connsiteY4" fmla="*/ 216694 h 528638"/>
              <a:gd name="connsiteX5" fmla="*/ 0 w 1626394"/>
              <a:gd name="connsiteY5" fmla="*/ 0 h 528638"/>
              <a:gd name="connsiteX0" fmla="*/ 0 w 1626394"/>
              <a:gd name="connsiteY0" fmla="*/ 0 h 714375"/>
              <a:gd name="connsiteX1" fmla="*/ 0 w 1626394"/>
              <a:gd name="connsiteY1" fmla="*/ 528638 h 714375"/>
              <a:gd name="connsiteX2" fmla="*/ 354807 w 1626394"/>
              <a:gd name="connsiteY2" fmla="*/ 714375 h 714375"/>
              <a:gd name="connsiteX3" fmla="*/ 1626394 w 1626394"/>
              <a:gd name="connsiteY3" fmla="*/ 7144 h 714375"/>
              <a:gd name="connsiteX4" fmla="*/ 483394 w 1626394"/>
              <a:gd name="connsiteY4" fmla="*/ 216694 h 714375"/>
              <a:gd name="connsiteX5" fmla="*/ 0 w 1626394"/>
              <a:gd name="connsiteY5" fmla="*/ 0 h 714375"/>
              <a:gd name="connsiteX0" fmla="*/ 0 w 1626394"/>
              <a:gd name="connsiteY0" fmla="*/ 0 h 528638"/>
              <a:gd name="connsiteX1" fmla="*/ 0 w 1626394"/>
              <a:gd name="connsiteY1" fmla="*/ 528638 h 528638"/>
              <a:gd name="connsiteX2" fmla="*/ 1626394 w 1626394"/>
              <a:gd name="connsiteY2" fmla="*/ 7144 h 528638"/>
              <a:gd name="connsiteX3" fmla="*/ 483394 w 1626394"/>
              <a:gd name="connsiteY3" fmla="*/ 216694 h 528638"/>
              <a:gd name="connsiteX4" fmla="*/ 0 w 1626394"/>
              <a:gd name="connsiteY4" fmla="*/ 0 h 528638"/>
              <a:gd name="connsiteX0" fmla="*/ 0 w 1626394"/>
              <a:gd name="connsiteY0" fmla="*/ 0 h 528638"/>
              <a:gd name="connsiteX1" fmla="*/ 0 w 1626394"/>
              <a:gd name="connsiteY1" fmla="*/ 528638 h 528638"/>
              <a:gd name="connsiteX2" fmla="*/ 1626394 w 1626394"/>
              <a:gd name="connsiteY2" fmla="*/ 7144 h 528638"/>
              <a:gd name="connsiteX3" fmla="*/ 483394 w 1626394"/>
              <a:gd name="connsiteY3" fmla="*/ 216694 h 528638"/>
              <a:gd name="connsiteX4" fmla="*/ 0 w 1626394"/>
              <a:gd name="connsiteY4" fmla="*/ 0 h 528638"/>
              <a:gd name="connsiteX0" fmla="*/ 0 w 1626394"/>
              <a:gd name="connsiteY0" fmla="*/ 0 h 681404"/>
              <a:gd name="connsiteX1" fmla="*/ 0 w 1626394"/>
              <a:gd name="connsiteY1" fmla="*/ 528638 h 681404"/>
              <a:gd name="connsiteX2" fmla="*/ 1626394 w 1626394"/>
              <a:gd name="connsiteY2" fmla="*/ 7144 h 681404"/>
              <a:gd name="connsiteX3" fmla="*/ 483394 w 1626394"/>
              <a:gd name="connsiteY3" fmla="*/ 216694 h 681404"/>
              <a:gd name="connsiteX4" fmla="*/ 0 w 1626394"/>
              <a:gd name="connsiteY4" fmla="*/ 0 h 681404"/>
              <a:gd name="connsiteX0" fmla="*/ 0 w 1626394"/>
              <a:gd name="connsiteY0" fmla="*/ 0 h 661055"/>
              <a:gd name="connsiteX1" fmla="*/ 0 w 1626394"/>
              <a:gd name="connsiteY1" fmla="*/ 528638 h 661055"/>
              <a:gd name="connsiteX2" fmla="*/ 1626394 w 1626394"/>
              <a:gd name="connsiteY2" fmla="*/ 7144 h 661055"/>
              <a:gd name="connsiteX3" fmla="*/ 483394 w 1626394"/>
              <a:gd name="connsiteY3" fmla="*/ 216694 h 661055"/>
              <a:gd name="connsiteX4" fmla="*/ 0 w 1626394"/>
              <a:gd name="connsiteY4" fmla="*/ 0 h 661055"/>
              <a:gd name="connsiteX0" fmla="*/ 0 w 1626394"/>
              <a:gd name="connsiteY0" fmla="*/ 0 h 678971"/>
              <a:gd name="connsiteX1" fmla="*/ 0 w 1626394"/>
              <a:gd name="connsiteY1" fmla="*/ 528638 h 678971"/>
              <a:gd name="connsiteX2" fmla="*/ 1626394 w 1626394"/>
              <a:gd name="connsiteY2" fmla="*/ 7144 h 678971"/>
              <a:gd name="connsiteX3" fmla="*/ 483394 w 1626394"/>
              <a:gd name="connsiteY3" fmla="*/ 216694 h 678971"/>
              <a:gd name="connsiteX4" fmla="*/ 0 w 1626394"/>
              <a:gd name="connsiteY4" fmla="*/ 0 h 678971"/>
              <a:gd name="connsiteX0" fmla="*/ 0 w 1626394"/>
              <a:gd name="connsiteY0" fmla="*/ 0 h 678971"/>
              <a:gd name="connsiteX1" fmla="*/ 0 w 1626394"/>
              <a:gd name="connsiteY1" fmla="*/ 528638 h 678971"/>
              <a:gd name="connsiteX2" fmla="*/ 1626394 w 1626394"/>
              <a:gd name="connsiteY2" fmla="*/ 7144 h 678971"/>
              <a:gd name="connsiteX3" fmla="*/ 621506 w 1626394"/>
              <a:gd name="connsiteY3" fmla="*/ 233363 h 678971"/>
              <a:gd name="connsiteX4" fmla="*/ 0 w 1626394"/>
              <a:gd name="connsiteY4" fmla="*/ 0 h 678971"/>
              <a:gd name="connsiteX0" fmla="*/ 0 w 1626394"/>
              <a:gd name="connsiteY0" fmla="*/ 4860 h 683831"/>
              <a:gd name="connsiteX1" fmla="*/ 0 w 1626394"/>
              <a:gd name="connsiteY1" fmla="*/ 533498 h 683831"/>
              <a:gd name="connsiteX2" fmla="*/ 1626394 w 1626394"/>
              <a:gd name="connsiteY2" fmla="*/ 12004 h 683831"/>
              <a:gd name="connsiteX3" fmla="*/ 621506 w 1626394"/>
              <a:gd name="connsiteY3" fmla="*/ 238223 h 683831"/>
              <a:gd name="connsiteX4" fmla="*/ 0 w 1626394"/>
              <a:gd name="connsiteY4" fmla="*/ 4860 h 683831"/>
              <a:gd name="connsiteX0" fmla="*/ 0 w 1626394"/>
              <a:gd name="connsiteY0" fmla="*/ 4860 h 683831"/>
              <a:gd name="connsiteX1" fmla="*/ 0 w 1626394"/>
              <a:gd name="connsiteY1" fmla="*/ 533498 h 683831"/>
              <a:gd name="connsiteX2" fmla="*/ 1626394 w 1626394"/>
              <a:gd name="connsiteY2" fmla="*/ 12004 h 683831"/>
              <a:gd name="connsiteX3" fmla="*/ 1066800 w 1626394"/>
              <a:gd name="connsiteY3" fmla="*/ 135830 h 683831"/>
              <a:gd name="connsiteX4" fmla="*/ 621506 w 1626394"/>
              <a:gd name="connsiteY4" fmla="*/ 238223 h 683831"/>
              <a:gd name="connsiteX5" fmla="*/ 0 w 1626394"/>
              <a:gd name="connsiteY5" fmla="*/ 4860 h 683831"/>
              <a:gd name="connsiteX0" fmla="*/ 0 w 1626394"/>
              <a:gd name="connsiteY0" fmla="*/ 111917 h 790888"/>
              <a:gd name="connsiteX1" fmla="*/ 0 w 1626394"/>
              <a:gd name="connsiteY1" fmla="*/ 640555 h 790888"/>
              <a:gd name="connsiteX2" fmla="*/ 1626394 w 1626394"/>
              <a:gd name="connsiteY2" fmla="*/ 119061 h 790888"/>
              <a:gd name="connsiteX3" fmla="*/ 923925 w 1626394"/>
              <a:gd name="connsiteY3" fmla="*/ 0 h 790888"/>
              <a:gd name="connsiteX4" fmla="*/ 621506 w 1626394"/>
              <a:gd name="connsiteY4" fmla="*/ 345280 h 790888"/>
              <a:gd name="connsiteX5" fmla="*/ 0 w 1626394"/>
              <a:gd name="connsiteY5" fmla="*/ 111917 h 790888"/>
              <a:gd name="connsiteX0" fmla="*/ 0 w 1626394"/>
              <a:gd name="connsiteY0" fmla="*/ 111917 h 790888"/>
              <a:gd name="connsiteX1" fmla="*/ 0 w 1626394"/>
              <a:gd name="connsiteY1" fmla="*/ 640555 h 790888"/>
              <a:gd name="connsiteX2" fmla="*/ 1626394 w 1626394"/>
              <a:gd name="connsiteY2" fmla="*/ 119061 h 790888"/>
              <a:gd name="connsiteX3" fmla="*/ 1059656 w 1626394"/>
              <a:gd name="connsiteY3" fmla="*/ 23812 h 790888"/>
              <a:gd name="connsiteX4" fmla="*/ 923925 w 1626394"/>
              <a:gd name="connsiteY4" fmla="*/ 0 h 790888"/>
              <a:gd name="connsiteX5" fmla="*/ 621506 w 1626394"/>
              <a:gd name="connsiteY5" fmla="*/ 345280 h 790888"/>
              <a:gd name="connsiteX6" fmla="*/ 0 w 1626394"/>
              <a:gd name="connsiteY6" fmla="*/ 111917 h 790888"/>
              <a:gd name="connsiteX0" fmla="*/ 0 w 1626394"/>
              <a:gd name="connsiteY0" fmla="*/ 538161 h 1217132"/>
              <a:gd name="connsiteX1" fmla="*/ 0 w 1626394"/>
              <a:gd name="connsiteY1" fmla="*/ 1066799 h 1217132"/>
              <a:gd name="connsiteX2" fmla="*/ 1626394 w 1626394"/>
              <a:gd name="connsiteY2" fmla="*/ 545305 h 1217132"/>
              <a:gd name="connsiteX3" fmla="*/ 1323974 w 1626394"/>
              <a:gd name="connsiteY3" fmla="*/ 0 h 1217132"/>
              <a:gd name="connsiteX4" fmla="*/ 923925 w 1626394"/>
              <a:gd name="connsiteY4" fmla="*/ 426244 h 1217132"/>
              <a:gd name="connsiteX5" fmla="*/ 621506 w 1626394"/>
              <a:gd name="connsiteY5" fmla="*/ 771524 h 1217132"/>
              <a:gd name="connsiteX6" fmla="*/ 0 w 1626394"/>
              <a:gd name="connsiteY6" fmla="*/ 538161 h 1217132"/>
              <a:gd name="connsiteX0" fmla="*/ 0 w 1626394"/>
              <a:gd name="connsiteY0" fmla="*/ 538161 h 1217132"/>
              <a:gd name="connsiteX1" fmla="*/ 0 w 1626394"/>
              <a:gd name="connsiteY1" fmla="*/ 1066799 h 1217132"/>
              <a:gd name="connsiteX2" fmla="*/ 1626394 w 1626394"/>
              <a:gd name="connsiteY2" fmla="*/ 545305 h 1217132"/>
              <a:gd name="connsiteX3" fmla="*/ 1323974 w 1626394"/>
              <a:gd name="connsiteY3" fmla="*/ 0 h 1217132"/>
              <a:gd name="connsiteX4" fmla="*/ 923925 w 1626394"/>
              <a:gd name="connsiteY4" fmla="*/ 426244 h 1217132"/>
              <a:gd name="connsiteX5" fmla="*/ 621506 w 1626394"/>
              <a:gd name="connsiteY5" fmla="*/ 771524 h 1217132"/>
              <a:gd name="connsiteX6" fmla="*/ 0 w 1626394"/>
              <a:gd name="connsiteY6" fmla="*/ 538161 h 1217132"/>
              <a:gd name="connsiteX0" fmla="*/ 0 w 1635310"/>
              <a:gd name="connsiteY0" fmla="*/ 538161 h 1066802"/>
              <a:gd name="connsiteX1" fmla="*/ 0 w 1635310"/>
              <a:gd name="connsiteY1" fmla="*/ 1066799 h 1066802"/>
              <a:gd name="connsiteX2" fmla="*/ 1626394 w 1635310"/>
              <a:gd name="connsiteY2" fmla="*/ 545305 h 1066802"/>
              <a:gd name="connsiteX3" fmla="*/ 1323974 w 1635310"/>
              <a:gd name="connsiteY3" fmla="*/ 0 h 1066802"/>
              <a:gd name="connsiteX4" fmla="*/ 923925 w 1635310"/>
              <a:gd name="connsiteY4" fmla="*/ 426244 h 1066802"/>
              <a:gd name="connsiteX5" fmla="*/ 621506 w 1635310"/>
              <a:gd name="connsiteY5" fmla="*/ 771524 h 1066802"/>
              <a:gd name="connsiteX6" fmla="*/ 0 w 1635310"/>
              <a:gd name="connsiteY6" fmla="*/ 538161 h 1066802"/>
              <a:gd name="connsiteX0" fmla="*/ 0 w 1632620"/>
              <a:gd name="connsiteY0" fmla="*/ 538161 h 1083110"/>
              <a:gd name="connsiteX1" fmla="*/ 0 w 1632620"/>
              <a:gd name="connsiteY1" fmla="*/ 1066799 h 1083110"/>
              <a:gd name="connsiteX2" fmla="*/ 1626394 w 1632620"/>
              <a:gd name="connsiteY2" fmla="*/ 545305 h 1083110"/>
              <a:gd name="connsiteX3" fmla="*/ 1323974 w 1632620"/>
              <a:gd name="connsiteY3" fmla="*/ 0 h 1083110"/>
              <a:gd name="connsiteX4" fmla="*/ 923925 w 1632620"/>
              <a:gd name="connsiteY4" fmla="*/ 426244 h 1083110"/>
              <a:gd name="connsiteX5" fmla="*/ 621506 w 1632620"/>
              <a:gd name="connsiteY5" fmla="*/ 771524 h 1083110"/>
              <a:gd name="connsiteX6" fmla="*/ 0 w 1632620"/>
              <a:gd name="connsiteY6" fmla="*/ 538161 h 1083110"/>
              <a:gd name="connsiteX0" fmla="*/ 0 w 1638832"/>
              <a:gd name="connsiteY0" fmla="*/ 538161 h 1079262"/>
              <a:gd name="connsiteX1" fmla="*/ 0 w 1638832"/>
              <a:gd name="connsiteY1" fmla="*/ 1066799 h 1079262"/>
              <a:gd name="connsiteX2" fmla="*/ 1626394 w 1638832"/>
              <a:gd name="connsiteY2" fmla="*/ 545305 h 1079262"/>
              <a:gd name="connsiteX3" fmla="*/ 1323974 w 1638832"/>
              <a:gd name="connsiteY3" fmla="*/ 0 h 1079262"/>
              <a:gd name="connsiteX4" fmla="*/ 923925 w 1638832"/>
              <a:gd name="connsiteY4" fmla="*/ 426244 h 1079262"/>
              <a:gd name="connsiteX5" fmla="*/ 621506 w 1638832"/>
              <a:gd name="connsiteY5" fmla="*/ 771524 h 1079262"/>
              <a:gd name="connsiteX6" fmla="*/ 0 w 1638832"/>
              <a:gd name="connsiteY6" fmla="*/ 538161 h 1079262"/>
              <a:gd name="connsiteX0" fmla="*/ 0 w 1629379"/>
              <a:gd name="connsiteY0" fmla="*/ 538161 h 1066897"/>
              <a:gd name="connsiteX1" fmla="*/ 0 w 1629379"/>
              <a:gd name="connsiteY1" fmla="*/ 1066799 h 1066897"/>
              <a:gd name="connsiteX2" fmla="*/ 1616869 w 1629379"/>
              <a:gd name="connsiteY2" fmla="*/ 409574 h 1066897"/>
              <a:gd name="connsiteX3" fmla="*/ 1323974 w 1629379"/>
              <a:gd name="connsiteY3" fmla="*/ 0 h 1066897"/>
              <a:gd name="connsiteX4" fmla="*/ 923925 w 1629379"/>
              <a:gd name="connsiteY4" fmla="*/ 426244 h 1066897"/>
              <a:gd name="connsiteX5" fmla="*/ 621506 w 1629379"/>
              <a:gd name="connsiteY5" fmla="*/ 771524 h 1066897"/>
              <a:gd name="connsiteX6" fmla="*/ 0 w 1629379"/>
              <a:gd name="connsiteY6" fmla="*/ 538161 h 1066897"/>
              <a:gd name="connsiteX0" fmla="*/ 0 w 1620913"/>
              <a:gd name="connsiteY0" fmla="*/ 538161 h 1107877"/>
              <a:gd name="connsiteX1" fmla="*/ 0 w 1620913"/>
              <a:gd name="connsiteY1" fmla="*/ 1066799 h 1107877"/>
              <a:gd name="connsiteX2" fmla="*/ 1616869 w 1620913"/>
              <a:gd name="connsiteY2" fmla="*/ 409574 h 1107877"/>
              <a:gd name="connsiteX3" fmla="*/ 1323974 w 1620913"/>
              <a:gd name="connsiteY3" fmla="*/ 0 h 1107877"/>
              <a:gd name="connsiteX4" fmla="*/ 923925 w 1620913"/>
              <a:gd name="connsiteY4" fmla="*/ 426244 h 1107877"/>
              <a:gd name="connsiteX5" fmla="*/ 621506 w 1620913"/>
              <a:gd name="connsiteY5" fmla="*/ 771524 h 1107877"/>
              <a:gd name="connsiteX6" fmla="*/ 0 w 1620913"/>
              <a:gd name="connsiteY6" fmla="*/ 538161 h 1107877"/>
              <a:gd name="connsiteX0" fmla="*/ 0 w 1620913"/>
              <a:gd name="connsiteY0" fmla="*/ 538161 h 1218265"/>
              <a:gd name="connsiteX1" fmla="*/ 0 w 1620913"/>
              <a:gd name="connsiteY1" fmla="*/ 1066799 h 1218265"/>
              <a:gd name="connsiteX2" fmla="*/ 1616869 w 1620913"/>
              <a:gd name="connsiteY2" fmla="*/ 409574 h 1218265"/>
              <a:gd name="connsiteX3" fmla="*/ 1323974 w 1620913"/>
              <a:gd name="connsiteY3" fmla="*/ 0 h 1218265"/>
              <a:gd name="connsiteX4" fmla="*/ 923925 w 1620913"/>
              <a:gd name="connsiteY4" fmla="*/ 426244 h 1218265"/>
              <a:gd name="connsiteX5" fmla="*/ 621506 w 1620913"/>
              <a:gd name="connsiteY5" fmla="*/ 771524 h 1218265"/>
              <a:gd name="connsiteX6" fmla="*/ 0 w 1620913"/>
              <a:gd name="connsiteY6" fmla="*/ 538161 h 1218265"/>
              <a:gd name="connsiteX0" fmla="*/ 0 w 1620913"/>
              <a:gd name="connsiteY0" fmla="*/ 538161 h 1066799"/>
              <a:gd name="connsiteX1" fmla="*/ 0 w 1620913"/>
              <a:gd name="connsiteY1" fmla="*/ 1066799 h 1066799"/>
              <a:gd name="connsiteX2" fmla="*/ 1616869 w 1620913"/>
              <a:gd name="connsiteY2" fmla="*/ 409574 h 1066799"/>
              <a:gd name="connsiteX3" fmla="*/ 1323974 w 1620913"/>
              <a:gd name="connsiteY3" fmla="*/ 0 h 1066799"/>
              <a:gd name="connsiteX4" fmla="*/ 923925 w 1620913"/>
              <a:gd name="connsiteY4" fmla="*/ 426244 h 1066799"/>
              <a:gd name="connsiteX5" fmla="*/ 621506 w 1620913"/>
              <a:gd name="connsiteY5" fmla="*/ 771524 h 1066799"/>
              <a:gd name="connsiteX6" fmla="*/ 0 w 1620913"/>
              <a:gd name="connsiteY6" fmla="*/ 538161 h 1066799"/>
              <a:gd name="connsiteX0" fmla="*/ 0 w 1620913"/>
              <a:gd name="connsiteY0" fmla="*/ 538161 h 1213299"/>
              <a:gd name="connsiteX1" fmla="*/ 0 w 1620913"/>
              <a:gd name="connsiteY1" fmla="*/ 1066799 h 1213299"/>
              <a:gd name="connsiteX2" fmla="*/ 1616869 w 1620913"/>
              <a:gd name="connsiteY2" fmla="*/ 409574 h 1213299"/>
              <a:gd name="connsiteX3" fmla="*/ 1323974 w 1620913"/>
              <a:gd name="connsiteY3" fmla="*/ 0 h 1213299"/>
              <a:gd name="connsiteX4" fmla="*/ 923925 w 1620913"/>
              <a:gd name="connsiteY4" fmla="*/ 426244 h 1213299"/>
              <a:gd name="connsiteX5" fmla="*/ 621506 w 1620913"/>
              <a:gd name="connsiteY5" fmla="*/ 771524 h 1213299"/>
              <a:gd name="connsiteX6" fmla="*/ 0 w 1620913"/>
              <a:gd name="connsiteY6" fmla="*/ 538161 h 121329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32881"/>
              <a:gd name="connsiteY0" fmla="*/ 538161 h 1232035"/>
              <a:gd name="connsiteX1" fmla="*/ 0 w 1632881"/>
              <a:gd name="connsiteY1" fmla="*/ 1066799 h 1232035"/>
              <a:gd name="connsiteX2" fmla="*/ 1621631 w 1632881"/>
              <a:gd name="connsiteY2" fmla="*/ 523874 h 1232035"/>
              <a:gd name="connsiteX3" fmla="*/ 1323974 w 1632881"/>
              <a:gd name="connsiteY3" fmla="*/ 0 h 1232035"/>
              <a:gd name="connsiteX4" fmla="*/ 923925 w 1632881"/>
              <a:gd name="connsiteY4" fmla="*/ 426244 h 1232035"/>
              <a:gd name="connsiteX5" fmla="*/ 621506 w 1632881"/>
              <a:gd name="connsiteY5" fmla="*/ 771524 h 1232035"/>
              <a:gd name="connsiteX6" fmla="*/ 0 w 1632881"/>
              <a:gd name="connsiteY6" fmla="*/ 538161 h 1232035"/>
              <a:gd name="connsiteX0" fmla="*/ 0 w 1622936"/>
              <a:gd name="connsiteY0" fmla="*/ 538161 h 1236750"/>
              <a:gd name="connsiteX1" fmla="*/ 0 w 1622936"/>
              <a:gd name="connsiteY1" fmla="*/ 1066799 h 1236750"/>
              <a:gd name="connsiteX2" fmla="*/ 1621631 w 1622936"/>
              <a:gd name="connsiteY2" fmla="*/ 523874 h 1236750"/>
              <a:gd name="connsiteX3" fmla="*/ 1323974 w 1622936"/>
              <a:gd name="connsiteY3" fmla="*/ 0 h 1236750"/>
              <a:gd name="connsiteX4" fmla="*/ 923925 w 1622936"/>
              <a:gd name="connsiteY4" fmla="*/ 426244 h 1236750"/>
              <a:gd name="connsiteX5" fmla="*/ 621506 w 1622936"/>
              <a:gd name="connsiteY5" fmla="*/ 771524 h 1236750"/>
              <a:gd name="connsiteX6" fmla="*/ 0 w 1622936"/>
              <a:gd name="connsiteY6" fmla="*/ 538161 h 1236750"/>
              <a:gd name="connsiteX0" fmla="*/ 0 w 1627932"/>
              <a:gd name="connsiteY0" fmla="*/ 538161 h 1227283"/>
              <a:gd name="connsiteX1" fmla="*/ 0 w 1627932"/>
              <a:gd name="connsiteY1" fmla="*/ 1066799 h 1227283"/>
              <a:gd name="connsiteX2" fmla="*/ 1621631 w 1627932"/>
              <a:gd name="connsiteY2" fmla="*/ 523874 h 1227283"/>
              <a:gd name="connsiteX3" fmla="*/ 1323974 w 1627932"/>
              <a:gd name="connsiteY3" fmla="*/ 0 h 1227283"/>
              <a:gd name="connsiteX4" fmla="*/ 923925 w 1627932"/>
              <a:gd name="connsiteY4" fmla="*/ 426244 h 1227283"/>
              <a:gd name="connsiteX5" fmla="*/ 621506 w 1627932"/>
              <a:gd name="connsiteY5" fmla="*/ 771524 h 1227283"/>
              <a:gd name="connsiteX6" fmla="*/ 0 w 1627932"/>
              <a:gd name="connsiteY6" fmla="*/ 538161 h 1227283"/>
              <a:gd name="connsiteX0" fmla="*/ 0 w 1627932"/>
              <a:gd name="connsiteY0" fmla="*/ 538161 h 1066799"/>
              <a:gd name="connsiteX1" fmla="*/ 0 w 1627932"/>
              <a:gd name="connsiteY1" fmla="*/ 1066799 h 1066799"/>
              <a:gd name="connsiteX2" fmla="*/ 1621631 w 1627932"/>
              <a:gd name="connsiteY2" fmla="*/ 523874 h 1066799"/>
              <a:gd name="connsiteX3" fmla="*/ 1323974 w 1627932"/>
              <a:gd name="connsiteY3" fmla="*/ 0 h 1066799"/>
              <a:gd name="connsiteX4" fmla="*/ 923925 w 1627932"/>
              <a:gd name="connsiteY4" fmla="*/ 426244 h 1066799"/>
              <a:gd name="connsiteX5" fmla="*/ 621506 w 1627932"/>
              <a:gd name="connsiteY5" fmla="*/ 771524 h 1066799"/>
              <a:gd name="connsiteX6" fmla="*/ 0 w 1627932"/>
              <a:gd name="connsiteY6" fmla="*/ 538161 h 1066799"/>
              <a:gd name="connsiteX0" fmla="*/ 0 w 1627647"/>
              <a:gd name="connsiteY0" fmla="*/ 538161 h 1066799"/>
              <a:gd name="connsiteX1" fmla="*/ 0 w 1627647"/>
              <a:gd name="connsiteY1" fmla="*/ 1066799 h 1066799"/>
              <a:gd name="connsiteX2" fmla="*/ 1621631 w 1627647"/>
              <a:gd name="connsiteY2" fmla="*/ 523874 h 1066799"/>
              <a:gd name="connsiteX3" fmla="*/ 1323974 w 1627647"/>
              <a:gd name="connsiteY3" fmla="*/ 0 h 1066799"/>
              <a:gd name="connsiteX4" fmla="*/ 923925 w 1627647"/>
              <a:gd name="connsiteY4" fmla="*/ 426244 h 1066799"/>
              <a:gd name="connsiteX5" fmla="*/ 621506 w 1627647"/>
              <a:gd name="connsiteY5" fmla="*/ 771524 h 1066799"/>
              <a:gd name="connsiteX6" fmla="*/ 0 w 1627647"/>
              <a:gd name="connsiteY6" fmla="*/ 538161 h 1066799"/>
              <a:gd name="connsiteX0" fmla="*/ 0 w 1627647"/>
              <a:gd name="connsiteY0" fmla="*/ 538161 h 1066799"/>
              <a:gd name="connsiteX1" fmla="*/ 0 w 1627647"/>
              <a:gd name="connsiteY1" fmla="*/ 1066799 h 1066799"/>
              <a:gd name="connsiteX2" fmla="*/ 1621631 w 1627647"/>
              <a:gd name="connsiteY2" fmla="*/ 523874 h 1066799"/>
              <a:gd name="connsiteX3" fmla="*/ 1323974 w 1627647"/>
              <a:gd name="connsiteY3" fmla="*/ 0 h 1066799"/>
              <a:gd name="connsiteX4" fmla="*/ 923925 w 1627647"/>
              <a:gd name="connsiteY4" fmla="*/ 426244 h 1066799"/>
              <a:gd name="connsiteX5" fmla="*/ 621506 w 1627647"/>
              <a:gd name="connsiteY5" fmla="*/ 771524 h 1066799"/>
              <a:gd name="connsiteX6" fmla="*/ 0 w 1627647"/>
              <a:gd name="connsiteY6" fmla="*/ 538161 h 1066799"/>
              <a:gd name="connsiteX0" fmla="*/ 0 w 1627647"/>
              <a:gd name="connsiteY0" fmla="*/ 538161 h 1134969"/>
              <a:gd name="connsiteX1" fmla="*/ 0 w 1627647"/>
              <a:gd name="connsiteY1" fmla="*/ 1066799 h 1134969"/>
              <a:gd name="connsiteX2" fmla="*/ 1621631 w 1627647"/>
              <a:gd name="connsiteY2" fmla="*/ 523874 h 1134969"/>
              <a:gd name="connsiteX3" fmla="*/ 1323974 w 1627647"/>
              <a:gd name="connsiteY3" fmla="*/ 0 h 1134969"/>
              <a:gd name="connsiteX4" fmla="*/ 923925 w 1627647"/>
              <a:gd name="connsiteY4" fmla="*/ 426244 h 1134969"/>
              <a:gd name="connsiteX5" fmla="*/ 621506 w 1627647"/>
              <a:gd name="connsiteY5" fmla="*/ 771524 h 1134969"/>
              <a:gd name="connsiteX6" fmla="*/ 0 w 1627647"/>
              <a:gd name="connsiteY6" fmla="*/ 538161 h 1134969"/>
              <a:gd name="connsiteX0" fmla="*/ 0 w 1627647"/>
              <a:gd name="connsiteY0" fmla="*/ 538161 h 1213483"/>
              <a:gd name="connsiteX1" fmla="*/ 0 w 1627647"/>
              <a:gd name="connsiteY1" fmla="*/ 1066799 h 1213483"/>
              <a:gd name="connsiteX2" fmla="*/ 1621631 w 1627647"/>
              <a:gd name="connsiteY2" fmla="*/ 523874 h 1213483"/>
              <a:gd name="connsiteX3" fmla="*/ 1323974 w 1627647"/>
              <a:gd name="connsiteY3" fmla="*/ 0 h 1213483"/>
              <a:gd name="connsiteX4" fmla="*/ 923925 w 1627647"/>
              <a:gd name="connsiteY4" fmla="*/ 426244 h 1213483"/>
              <a:gd name="connsiteX5" fmla="*/ 621506 w 1627647"/>
              <a:gd name="connsiteY5" fmla="*/ 771524 h 1213483"/>
              <a:gd name="connsiteX6" fmla="*/ 0 w 1627647"/>
              <a:gd name="connsiteY6" fmla="*/ 538161 h 1213483"/>
              <a:gd name="connsiteX0" fmla="*/ 0 w 1627647"/>
              <a:gd name="connsiteY0" fmla="*/ 538161 h 1190326"/>
              <a:gd name="connsiteX1" fmla="*/ 0 w 1627647"/>
              <a:gd name="connsiteY1" fmla="*/ 1066799 h 1190326"/>
              <a:gd name="connsiteX2" fmla="*/ 1621631 w 1627647"/>
              <a:gd name="connsiteY2" fmla="*/ 523874 h 1190326"/>
              <a:gd name="connsiteX3" fmla="*/ 1323974 w 1627647"/>
              <a:gd name="connsiteY3" fmla="*/ 0 h 1190326"/>
              <a:gd name="connsiteX4" fmla="*/ 923925 w 1627647"/>
              <a:gd name="connsiteY4" fmla="*/ 426244 h 1190326"/>
              <a:gd name="connsiteX5" fmla="*/ 621506 w 1627647"/>
              <a:gd name="connsiteY5" fmla="*/ 771524 h 1190326"/>
              <a:gd name="connsiteX6" fmla="*/ 0 w 1627647"/>
              <a:gd name="connsiteY6" fmla="*/ 538161 h 1190326"/>
              <a:gd name="connsiteX0" fmla="*/ 0 w 1627647"/>
              <a:gd name="connsiteY0" fmla="*/ 538161 h 1219698"/>
              <a:gd name="connsiteX1" fmla="*/ 0 w 1627647"/>
              <a:gd name="connsiteY1" fmla="*/ 1066799 h 1219698"/>
              <a:gd name="connsiteX2" fmla="*/ 1621631 w 1627647"/>
              <a:gd name="connsiteY2" fmla="*/ 523874 h 1219698"/>
              <a:gd name="connsiteX3" fmla="*/ 1323974 w 1627647"/>
              <a:gd name="connsiteY3" fmla="*/ 0 h 1219698"/>
              <a:gd name="connsiteX4" fmla="*/ 923925 w 1627647"/>
              <a:gd name="connsiteY4" fmla="*/ 426244 h 1219698"/>
              <a:gd name="connsiteX5" fmla="*/ 621506 w 1627647"/>
              <a:gd name="connsiteY5" fmla="*/ 771524 h 1219698"/>
              <a:gd name="connsiteX6" fmla="*/ 0 w 1627647"/>
              <a:gd name="connsiteY6" fmla="*/ 538161 h 1219698"/>
              <a:gd name="connsiteX0" fmla="*/ 0 w 1627647"/>
              <a:gd name="connsiteY0" fmla="*/ 538161 h 1232307"/>
              <a:gd name="connsiteX1" fmla="*/ 0 w 1627647"/>
              <a:gd name="connsiteY1" fmla="*/ 1066799 h 1232307"/>
              <a:gd name="connsiteX2" fmla="*/ 1621631 w 1627647"/>
              <a:gd name="connsiteY2" fmla="*/ 523874 h 1232307"/>
              <a:gd name="connsiteX3" fmla="*/ 1323974 w 1627647"/>
              <a:gd name="connsiteY3" fmla="*/ 0 h 1232307"/>
              <a:gd name="connsiteX4" fmla="*/ 923925 w 1627647"/>
              <a:gd name="connsiteY4" fmla="*/ 426244 h 1232307"/>
              <a:gd name="connsiteX5" fmla="*/ 621506 w 1627647"/>
              <a:gd name="connsiteY5" fmla="*/ 771524 h 1232307"/>
              <a:gd name="connsiteX6" fmla="*/ 0 w 1627647"/>
              <a:gd name="connsiteY6" fmla="*/ 538161 h 1232307"/>
              <a:gd name="connsiteX0" fmla="*/ 0 w 1627647"/>
              <a:gd name="connsiteY0" fmla="*/ 538161 h 1217230"/>
              <a:gd name="connsiteX1" fmla="*/ 0 w 1627647"/>
              <a:gd name="connsiteY1" fmla="*/ 1066799 h 1217230"/>
              <a:gd name="connsiteX2" fmla="*/ 1621631 w 1627647"/>
              <a:gd name="connsiteY2" fmla="*/ 523874 h 1217230"/>
              <a:gd name="connsiteX3" fmla="*/ 1323974 w 1627647"/>
              <a:gd name="connsiteY3" fmla="*/ 0 h 1217230"/>
              <a:gd name="connsiteX4" fmla="*/ 923925 w 1627647"/>
              <a:gd name="connsiteY4" fmla="*/ 426244 h 1217230"/>
              <a:gd name="connsiteX5" fmla="*/ 621506 w 1627647"/>
              <a:gd name="connsiteY5" fmla="*/ 771524 h 1217230"/>
              <a:gd name="connsiteX6" fmla="*/ 0 w 1627647"/>
              <a:gd name="connsiteY6" fmla="*/ 538161 h 1217230"/>
              <a:gd name="connsiteX0" fmla="*/ 0 w 1627647"/>
              <a:gd name="connsiteY0" fmla="*/ 538161 h 1188997"/>
              <a:gd name="connsiteX1" fmla="*/ 0 w 1627647"/>
              <a:gd name="connsiteY1" fmla="*/ 1066799 h 1188997"/>
              <a:gd name="connsiteX2" fmla="*/ 1621631 w 1627647"/>
              <a:gd name="connsiteY2" fmla="*/ 523874 h 1188997"/>
              <a:gd name="connsiteX3" fmla="*/ 1323974 w 1627647"/>
              <a:gd name="connsiteY3" fmla="*/ 0 h 1188997"/>
              <a:gd name="connsiteX4" fmla="*/ 923925 w 1627647"/>
              <a:gd name="connsiteY4" fmla="*/ 426244 h 1188997"/>
              <a:gd name="connsiteX5" fmla="*/ 621506 w 1627647"/>
              <a:gd name="connsiteY5" fmla="*/ 771524 h 1188997"/>
              <a:gd name="connsiteX6" fmla="*/ 0 w 1627647"/>
              <a:gd name="connsiteY6" fmla="*/ 538161 h 1188997"/>
              <a:gd name="connsiteX0" fmla="*/ 0 w 1627647"/>
              <a:gd name="connsiteY0" fmla="*/ 538161 h 1216261"/>
              <a:gd name="connsiteX1" fmla="*/ 0 w 1627647"/>
              <a:gd name="connsiteY1" fmla="*/ 1066799 h 1216261"/>
              <a:gd name="connsiteX2" fmla="*/ 1621631 w 1627647"/>
              <a:gd name="connsiteY2" fmla="*/ 523874 h 1216261"/>
              <a:gd name="connsiteX3" fmla="*/ 1323974 w 1627647"/>
              <a:gd name="connsiteY3" fmla="*/ 0 h 1216261"/>
              <a:gd name="connsiteX4" fmla="*/ 923925 w 1627647"/>
              <a:gd name="connsiteY4" fmla="*/ 426244 h 1216261"/>
              <a:gd name="connsiteX5" fmla="*/ 621506 w 1627647"/>
              <a:gd name="connsiteY5" fmla="*/ 771524 h 1216261"/>
              <a:gd name="connsiteX6" fmla="*/ 0 w 1627647"/>
              <a:gd name="connsiteY6" fmla="*/ 538161 h 1216261"/>
              <a:gd name="connsiteX0" fmla="*/ 0 w 1627647"/>
              <a:gd name="connsiteY0" fmla="*/ 538161 h 1206398"/>
              <a:gd name="connsiteX1" fmla="*/ 0 w 1627647"/>
              <a:gd name="connsiteY1" fmla="*/ 1066799 h 1206398"/>
              <a:gd name="connsiteX2" fmla="*/ 1621631 w 1627647"/>
              <a:gd name="connsiteY2" fmla="*/ 523874 h 1206398"/>
              <a:gd name="connsiteX3" fmla="*/ 1323974 w 1627647"/>
              <a:gd name="connsiteY3" fmla="*/ 0 h 1206398"/>
              <a:gd name="connsiteX4" fmla="*/ 923925 w 1627647"/>
              <a:gd name="connsiteY4" fmla="*/ 426244 h 1206398"/>
              <a:gd name="connsiteX5" fmla="*/ 621506 w 1627647"/>
              <a:gd name="connsiteY5" fmla="*/ 771524 h 1206398"/>
              <a:gd name="connsiteX6" fmla="*/ 0 w 1627647"/>
              <a:gd name="connsiteY6" fmla="*/ 538161 h 1206398"/>
              <a:gd name="connsiteX0" fmla="*/ 0 w 1627647"/>
              <a:gd name="connsiteY0" fmla="*/ 538161 h 1218880"/>
              <a:gd name="connsiteX1" fmla="*/ 0 w 1627647"/>
              <a:gd name="connsiteY1" fmla="*/ 1066799 h 1218880"/>
              <a:gd name="connsiteX2" fmla="*/ 1621631 w 1627647"/>
              <a:gd name="connsiteY2" fmla="*/ 523874 h 1218880"/>
              <a:gd name="connsiteX3" fmla="*/ 1323974 w 1627647"/>
              <a:gd name="connsiteY3" fmla="*/ 0 h 1218880"/>
              <a:gd name="connsiteX4" fmla="*/ 923925 w 1627647"/>
              <a:gd name="connsiteY4" fmla="*/ 426244 h 1218880"/>
              <a:gd name="connsiteX5" fmla="*/ 621506 w 1627647"/>
              <a:gd name="connsiteY5" fmla="*/ 771524 h 1218880"/>
              <a:gd name="connsiteX6" fmla="*/ 0 w 1627647"/>
              <a:gd name="connsiteY6" fmla="*/ 538161 h 1218880"/>
              <a:gd name="connsiteX0" fmla="*/ 0 w 1627647"/>
              <a:gd name="connsiteY0" fmla="*/ 538161 h 1211596"/>
              <a:gd name="connsiteX1" fmla="*/ 0 w 1627647"/>
              <a:gd name="connsiteY1" fmla="*/ 1066799 h 1211596"/>
              <a:gd name="connsiteX2" fmla="*/ 1621631 w 1627647"/>
              <a:gd name="connsiteY2" fmla="*/ 523874 h 1211596"/>
              <a:gd name="connsiteX3" fmla="*/ 1323974 w 1627647"/>
              <a:gd name="connsiteY3" fmla="*/ 0 h 1211596"/>
              <a:gd name="connsiteX4" fmla="*/ 923925 w 1627647"/>
              <a:gd name="connsiteY4" fmla="*/ 426244 h 1211596"/>
              <a:gd name="connsiteX5" fmla="*/ 621506 w 1627647"/>
              <a:gd name="connsiteY5" fmla="*/ 771524 h 1211596"/>
              <a:gd name="connsiteX6" fmla="*/ 0 w 1627647"/>
              <a:gd name="connsiteY6" fmla="*/ 538161 h 1211596"/>
              <a:gd name="connsiteX0" fmla="*/ 0 w 1627647"/>
              <a:gd name="connsiteY0" fmla="*/ 538161 h 1217962"/>
              <a:gd name="connsiteX1" fmla="*/ 0 w 1627647"/>
              <a:gd name="connsiteY1" fmla="*/ 1066799 h 1217962"/>
              <a:gd name="connsiteX2" fmla="*/ 1621631 w 1627647"/>
              <a:gd name="connsiteY2" fmla="*/ 523874 h 1217962"/>
              <a:gd name="connsiteX3" fmla="*/ 1323974 w 1627647"/>
              <a:gd name="connsiteY3" fmla="*/ 0 h 1217962"/>
              <a:gd name="connsiteX4" fmla="*/ 923925 w 1627647"/>
              <a:gd name="connsiteY4" fmla="*/ 426244 h 1217962"/>
              <a:gd name="connsiteX5" fmla="*/ 621506 w 1627647"/>
              <a:gd name="connsiteY5" fmla="*/ 771524 h 1217962"/>
              <a:gd name="connsiteX6" fmla="*/ 0 w 1627647"/>
              <a:gd name="connsiteY6" fmla="*/ 538161 h 1217962"/>
              <a:gd name="connsiteX0" fmla="*/ 0 w 1627647"/>
              <a:gd name="connsiteY0" fmla="*/ 538161 h 1218399"/>
              <a:gd name="connsiteX1" fmla="*/ 0 w 1627647"/>
              <a:gd name="connsiteY1" fmla="*/ 1066799 h 1218399"/>
              <a:gd name="connsiteX2" fmla="*/ 1621631 w 1627647"/>
              <a:gd name="connsiteY2" fmla="*/ 523874 h 1218399"/>
              <a:gd name="connsiteX3" fmla="*/ 1323974 w 1627647"/>
              <a:gd name="connsiteY3" fmla="*/ 0 h 1218399"/>
              <a:gd name="connsiteX4" fmla="*/ 923925 w 1627647"/>
              <a:gd name="connsiteY4" fmla="*/ 426244 h 1218399"/>
              <a:gd name="connsiteX5" fmla="*/ 621506 w 1627647"/>
              <a:gd name="connsiteY5" fmla="*/ 771524 h 1218399"/>
              <a:gd name="connsiteX6" fmla="*/ 0 w 1627647"/>
              <a:gd name="connsiteY6" fmla="*/ 538161 h 1218399"/>
              <a:gd name="connsiteX0" fmla="*/ 0 w 1627647"/>
              <a:gd name="connsiteY0" fmla="*/ 538161 h 1212839"/>
              <a:gd name="connsiteX1" fmla="*/ 0 w 1627647"/>
              <a:gd name="connsiteY1" fmla="*/ 1066799 h 1212839"/>
              <a:gd name="connsiteX2" fmla="*/ 1621631 w 1627647"/>
              <a:gd name="connsiteY2" fmla="*/ 523874 h 1212839"/>
              <a:gd name="connsiteX3" fmla="*/ 1323974 w 1627647"/>
              <a:gd name="connsiteY3" fmla="*/ 0 h 1212839"/>
              <a:gd name="connsiteX4" fmla="*/ 923925 w 1627647"/>
              <a:gd name="connsiteY4" fmla="*/ 426244 h 1212839"/>
              <a:gd name="connsiteX5" fmla="*/ 621506 w 1627647"/>
              <a:gd name="connsiteY5" fmla="*/ 771524 h 1212839"/>
              <a:gd name="connsiteX6" fmla="*/ 0 w 1627647"/>
              <a:gd name="connsiteY6" fmla="*/ 538161 h 1212839"/>
              <a:gd name="connsiteX0" fmla="*/ 0 w 1627647"/>
              <a:gd name="connsiteY0" fmla="*/ 538161 h 1212839"/>
              <a:gd name="connsiteX1" fmla="*/ 0 w 1627647"/>
              <a:gd name="connsiteY1" fmla="*/ 1066799 h 1212839"/>
              <a:gd name="connsiteX2" fmla="*/ 1621631 w 1627647"/>
              <a:gd name="connsiteY2" fmla="*/ 523874 h 1212839"/>
              <a:gd name="connsiteX3" fmla="*/ 1323974 w 1627647"/>
              <a:gd name="connsiteY3" fmla="*/ 0 h 1212839"/>
              <a:gd name="connsiteX4" fmla="*/ 1078707 w 1627647"/>
              <a:gd name="connsiteY4" fmla="*/ 257177 h 1212839"/>
              <a:gd name="connsiteX5" fmla="*/ 923925 w 1627647"/>
              <a:gd name="connsiteY5" fmla="*/ 426244 h 1212839"/>
              <a:gd name="connsiteX6" fmla="*/ 621506 w 1627647"/>
              <a:gd name="connsiteY6" fmla="*/ 771524 h 1212839"/>
              <a:gd name="connsiteX7" fmla="*/ 0 w 1627647"/>
              <a:gd name="connsiteY7" fmla="*/ 538161 h 1212839"/>
              <a:gd name="connsiteX0" fmla="*/ 0 w 1627647"/>
              <a:gd name="connsiteY0" fmla="*/ 538161 h 1212839"/>
              <a:gd name="connsiteX1" fmla="*/ 0 w 1627647"/>
              <a:gd name="connsiteY1" fmla="*/ 1066799 h 1212839"/>
              <a:gd name="connsiteX2" fmla="*/ 1621631 w 1627647"/>
              <a:gd name="connsiteY2" fmla="*/ 523874 h 1212839"/>
              <a:gd name="connsiteX3" fmla="*/ 1323974 w 1627647"/>
              <a:gd name="connsiteY3" fmla="*/ 0 h 1212839"/>
              <a:gd name="connsiteX4" fmla="*/ 595313 w 1627647"/>
              <a:gd name="connsiteY4" fmla="*/ 185739 h 1212839"/>
              <a:gd name="connsiteX5" fmla="*/ 923925 w 1627647"/>
              <a:gd name="connsiteY5" fmla="*/ 426244 h 1212839"/>
              <a:gd name="connsiteX6" fmla="*/ 621506 w 1627647"/>
              <a:gd name="connsiteY6" fmla="*/ 771524 h 1212839"/>
              <a:gd name="connsiteX7" fmla="*/ 0 w 1627647"/>
              <a:gd name="connsiteY7" fmla="*/ 538161 h 1212839"/>
              <a:gd name="connsiteX0" fmla="*/ 0 w 1627647"/>
              <a:gd name="connsiteY0" fmla="*/ 538161 h 1212839"/>
              <a:gd name="connsiteX1" fmla="*/ 0 w 1627647"/>
              <a:gd name="connsiteY1" fmla="*/ 1066799 h 1212839"/>
              <a:gd name="connsiteX2" fmla="*/ 1621631 w 1627647"/>
              <a:gd name="connsiteY2" fmla="*/ 523874 h 1212839"/>
              <a:gd name="connsiteX3" fmla="*/ 1323974 w 1627647"/>
              <a:gd name="connsiteY3" fmla="*/ 0 h 1212839"/>
              <a:gd name="connsiteX4" fmla="*/ 973932 w 1627647"/>
              <a:gd name="connsiteY4" fmla="*/ 85727 h 1212839"/>
              <a:gd name="connsiteX5" fmla="*/ 595313 w 1627647"/>
              <a:gd name="connsiteY5" fmla="*/ 185739 h 1212839"/>
              <a:gd name="connsiteX6" fmla="*/ 923925 w 1627647"/>
              <a:gd name="connsiteY6" fmla="*/ 426244 h 1212839"/>
              <a:gd name="connsiteX7" fmla="*/ 621506 w 1627647"/>
              <a:gd name="connsiteY7" fmla="*/ 771524 h 1212839"/>
              <a:gd name="connsiteX8" fmla="*/ 0 w 1627647"/>
              <a:gd name="connsiteY8" fmla="*/ 538161 h 1212839"/>
              <a:gd name="connsiteX0" fmla="*/ 0 w 1627647"/>
              <a:gd name="connsiteY0" fmla="*/ 745328 h 1420006"/>
              <a:gd name="connsiteX1" fmla="*/ 0 w 1627647"/>
              <a:gd name="connsiteY1" fmla="*/ 1273966 h 1420006"/>
              <a:gd name="connsiteX2" fmla="*/ 1621631 w 1627647"/>
              <a:gd name="connsiteY2" fmla="*/ 731041 h 1420006"/>
              <a:gd name="connsiteX3" fmla="*/ 1323974 w 1627647"/>
              <a:gd name="connsiteY3" fmla="*/ 207167 h 1420006"/>
              <a:gd name="connsiteX4" fmla="*/ 835820 w 1627647"/>
              <a:gd name="connsiteY4" fmla="*/ 0 h 1420006"/>
              <a:gd name="connsiteX5" fmla="*/ 595313 w 1627647"/>
              <a:gd name="connsiteY5" fmla="*/ 392906 h 1420006"/>
              <a:gd name="connsiteX6" fmla="*/ 923925 w 1627647"/>
              <a:gd name="connsiteY6" fmla="*/ 633411 h 1420006"/>
              <a:gd name="connsiteX7" fmla="*/ 621506 w 1627647"/>
              <a:gd name="connsiteY7" fmla="*/ 978691 h 1420006"/>
              <a:gd name="connsiteX8" fmla="*/ 0 w 1627647"/>
              <a:gd name="connsiteY8" fmla="*/ 745328 h 1420006"/>
              <a:gd name="connsiteX0" fmla="*/ 0 w 1591281"/>
              <a:gd name="connsiteY0" fmla="*/ 745328 h 1469663"/>
              <a:gd name="connsiteX1" fmla="*/ 0 w 1591281"/>
              <a:gd name="connsiteY1" fmla="*/ 1273966 h 1469663"/>
              <a:gd name="connsiteX2" fmla="*/ 1574006 w 1591281"/>
              <a:gd name="connsiteY2" fmla="*/ 928685 h 1469663"/>
              <a:gd name="connsiteX3" fmla="*/ 1323974 w 1591281"/>
              <a:gd name="connsiteY3" fmla="*/ 207167 h 1469663"/>
              <a:gd name="connsiteX4" fmla="*/ 835820 w 1591281"/>
              <a:gd name="connsiteY4" fmla="*/ 0 h 1469663"/>
              <a:gd name="connsiteX5" fmla="*/ 595313 w 1591281"/>
              <a:gd name="connsiteY5" fmla="*/ 392906 h 1469663"/>
              <a:gd name="connsiteX6" fmla="*/ 923925 w 1591281"/>
              <a:gd name="connsiteY6" fmla="*/ 633411 h 1469663"/>
              <a:gd name="connsiteX7" fmla="*/ 621506 w 1591281"/>
              <a:gd name="connsiteY7" fmla="*/ 978691 h 1469663"/>
              <a:gd name="connsiteX8" fmla="*/ 0 w 1591281"/>
              <a:gd name="connsiteY8" fmla="*/ 745328 h 1469663"/>
              <a:gd name="connsiteX0" fmla="*/ 0 w 1591281"/>
              <a:gd name="connsiteY0" fmla="*/ 745328 h 1425021"/>
              <a:gd name="connsiteX1" fmla="*/ 0 w 1591281"/>
              <a:gd name="connsiteY1" fmla="*/ 1273966 h 1425021"/>
              <a:gd name="connsiteX2" fmla="*/ 1574006 w 1591281"/>
              <a:gd name="connsiteY2" fmla="*/ 928685 h 1425021"/>
              <a:gd name="connsiteX3" fmla="*/ 1323974 w 1591281"/>
              <a:gd name="connsiteY3" fmla="*/ 207167 h 1425021"/>
              <a:gd name="connsiteX4" fmla="*/ 835820 w 1591281"/>
              <a:gd name="connsiteY4" fmla="*/ 0 h 1425021"/>
              <a:gd name="connsiteX5" fmla="*/ 595313 w 1591281"/>
              <a:gd name="connsiteY5" fmla="*/ 392906 h 1425021"/>
              <a:gd name="connsiteX6" fmla="*/ 923925 w 1591281"/>
              <a:gd name="connsiteY6" fmla="*/ 633411 h 1425021"/>
              <a:gd name="connsiteX7" fmla="*/ 621506 w 1591281"/>
              <a:gd name="connsiteY7" fmla="*/ 978691 h 1425021"/>
              <a:gd name="connsiteX8" fmla="*/ 0 w 1591281"/>
              <a:gd name="connsiteY8" fmla="*/ 745328 h 1425021"/>
              <a:gd name="connsiteX0" fmla="*/ 0 w 1622856"/>
              <a:gd name="connsiteY0" fmla="*/ 745328 h 1425021"/>
              <a:gd name="connsiteX1" fmla="*/ 0 w 1622856"/>
              <a:gd name="connsiteY1" fmla="*/ 1273966 h 1425021"/>
              <a:gd name="connsiteX2" fmla="*/ 1574006 w 1622856"/>
              <a:gd name="connsiteY2" fmla="*/ 928685 h 1425021"/>
              <a:gd name="connsiteX3" fmla="*/ 1323974 w 1622856"/>
              <a:gd name="connsiteY3" fmla="*/ 207167 h 1425021"/>
              <a:gd name="connsiteX4" fmla="*/ 835820 w 1622856"/>
              <a:gd name="connsiteY4" fmla="*/ 0 h 1425021"/>
              <a:gd name="connsiteX5" fmla="*/ 595313 w 1622856"/>
              <a:gd name="connsiteY5" fmla="*/ 392906 h 1425021"/>
              <a:gd name="connsiteX6" fmla="*/ 923925 w 1622856"/>
              <a:gd name="connsiteY6" fmla="*/ 633411 h 1425021"/>
              <a:gd name="connsiteX7" fmla="*/ 621506 w 1622856"/>
              <a:gd name="connsiteY7" fmla="*/ 978691 h 1425021"/>
              <a:gd name="connsiteX8" fmla="*/ 0 w 1622856"/>
              <a:gd name="connsiteY8" fmla="*/ 745328 h 1425021"/>
              <a:gd name="connsiteX0" fmla="*/ 0 w 1608710"/>
              <a:gd name="connsiteY0" fmla="*/ 745328 h 1425021"/>
              <a:gd name="connsiteX1" fmla="*/ 0 w 1608710"/>
              <a:gd name="connsiteY1" fmla="*/ 1273966 h 1425021"/>
              <a:gd name="connsiteX2" fmla="*/ 1574006 w 1608710"/>
              <a:gd name="connsiteY2" fmla="*/ 928685 h 1425021"/>
              <a:gd name="connsiteX3" fmla="*/ 1264443 w 1608710"/>
              <a:gd name="connsiteY3" fmla="*/ 166686 h 1425021"/>
              <a:gd name="connsiteX4" fmla="*/ 835820 w 1608710"/>
              <a:gd name="connsiteY4" fmla="*/ 0 h 1425021"/>
              <a:gd name="connsiteX5" fmla="*/ 595313 w 1608710"/>
              <a:gd name="connsiteY5" fmla="*/ 392906 h 1425021"/>
              <a:gd name="connsiteX6" fmla="*/ 923925 w 1608710"/>
              <a:gd name="connsiteY6" fmla="*/ 633411 h 1425021"/>
              <a:gd name="connsiteX7" fmla="*/ 621506 w 1608710"/>
              <a:gd name="connsiteY7" fmla="*/ 978691 h 1425021"/>
              <a:gd name="connsiteX8" fmla="*/ 0 w 1608710"/>
              <a:gd name="connsiteY8" fmla="*/ 745328 h 1425021"/>
              <a:gd name="connsiteX0" fmla="*/ 0 w 1623138"/>
              <a:gd name="connsiteY0" fmla="*/ 745328 h 1425021"/>
              <a:gd name="connsiteX1" fmla="*/ 0 w 1623138"/>
              <a:gd name="connsiteY1" fmla="*/ 1273966 h 1425021"/>
              <a:gd name="connsiteX2" fmla="*/ 1574006 w 1623138"/>
              <a:gd name="connsiteY2" fmla="*/ 928685 h 1425021"/>
              <a:gd name="connsiteX3" fmla="*/ 1264443 w 1623138"/>
              <a:gd name="connsiteY3" fmla="*/ 166686 h 1425021"/>
              <a:gd name="connsiteX4" fmla="*/ 835820 w 1623138"/>
              <a:gd name="connsiteY4" fmla="*/ 0 h 1425021"/>
              <a:gd name="connsiteX5" fmla="*/ 595313 w 1623138"/>
              <a:gd name="connsiteY5" fmla="*/ 392906 h 1425021"/>
              <a:gd name="connsiteX6" fmla="*/ 923925 w 1623138"/>
              <a:gd name="connsiteY6" fmla="*/ 633411 h 1425021"/>
              <a:gd name="connsiteX7" fmla="*/ 621506 w 1623138"/>
              <a:gd name="connsiteY7" fmla="*/ 978691 h 1425021"/>
              <a:gd name="connsiteX8" fmla="*/ 0 w 1623138"/>
              <a:gd name="connsiteY8" fmla="*/ 745328 h 1425021"/>
              <a:gd name="connsiteX0" fmla="*/ 0 w 1623138"/>
              <a:gd name="connsiteY0" fmla="*/ 745328 h 1425021"/>
              <a:gd name="connsiteX1" fmla="*/ 0 w 1623138"/>
              <a:gd name="connsiteY1" fmla="*/ 1273966 h 1425021"/>
              <a:gd name="connsiteX2" fmla="*/ 1574006 w 1623138"/>
              <a:gd name="connsiteY2" fmla="*/ 928685 h 1425021"/>
              <a:gd name="connsiteX3" fmla="*/ 1264443 w 1623138"/>
              <a:gd name="connsiteY3" fmla="*/ 166686 h 1425021"/>
              <a:gd name="connsiteX4" fmla="*/ 835820 w 1623138"/>
              <a:gd name="connsiteY4" fmla="*/ 0 h 1425021"/>
              <a:gd name="connsiteX5" fmla="*/ 595313 w 1623138"/>
              <a:gd name="connsiteY5" fmla="*/ 392906 h 1425021"/>
              <a:gd name="connsiteX6" fmla="*/ 923925 w 1623138"/>
              <a:gd name="connsiteY6" fmla="*/ 633411 h 1425021"/>
              <a:gd name="connsiteX7" fmla="*/ 621506 w 1623138"/>
              <a:gd name="connsiteY7" fmla="*/ 978691 h 1425021"/>
              <a:gd name="connsiteX8" fmla="*/ 0 w 1623138"/>
              <a:gd name="connsiteY8" fmla="*/ 745328 h 1425021"/>
              <a:gd name="connsiteX0" fmla="*/ 0 w 1623138"/>
              <a:gd name="connsiteY0" fmla="*/ 745328 h 1425021"/>
              <a:gd name="connsiteX1" fmla="*/ 0 w 1623138"/>
              <a:gd name="connsiteY1" fmla="*/ 1273966 h 1425021"/>
              <a:gd name="connsiteX2" fmla="*/ 1574006 w 1623138"/>
              <a:gd name="connsiteY2" fmla="*/ 928685 h 1425021"/>
              <a:gd name="connsiteX3" fmla="*/ 1264443 w 1623138"/>
              <a:gd name="connsiteY3" fmla="*/ 166686 h 1425021"/>
              <a:gd name="connsiteX4" fmla="*/ 835820 w 1623138"/>
              <a:gd name="connsiteY4" fmla="*/ 0 h 1425021"/>
              <a:gd name="connsiteX5" fmla="*/ 709613 w 1623138"/>
              <a:gd name="connsiteY5" fmla="*/ 207169 h 1425021"/>
              <a:gd name="connsiteX6" fmla="*/ 595313 w 1623138"/>
              <a:gd name="connsiteY6" fmla="*/ 392906 h 1425021"/>
              <a:gd name="connsiteX7" fmla="*/ 923925 w 1623138"/>
              <a:gd name="connsiteY7" fmla="*/ 633411 h 1425021"/>
              <a:gd name="connsiteX8" fmla="*/ 621506 w 1623138"/>
              <a:gd name="connsiteY8" fmla="*/ 978691 h 1425021"/>
              <a:gd name="connsiteX9" fmla="*/ 0 w 1623138"/>
              <a:gd name="connsiteY9" fmla="*/ 745328 h 1425021"/>
              <a:gd name="connsiteX0" fmla="*/ 0 w 1623138"/>
              <a:gd name="connsiteY0" fmla="*/ 797716 h 1477409"/>
              <a:gd name="connsiteX1" fmla="*/ 0 w 1623138"/>
              <a:gd name="connsiteY1" fmla="*/ 1326354 h 1477409"/>
              <a:gd name="connsiteX2" fmla="*/ 1574006 w 1623138"/>
              <a:gd name="connsiteY2" fmla="*/ 981073 h 1477409"/>
              <a:gd name="connsiteX3" fmla="*/ 1264443 w 1623138"/>
              <a:gd name="connsiteY3" fmla="*/ 219074 h 1477409"/>
              <a:gd name="connsiteX4" fmla="*/ 835820 w 1623138"/>
              <a:gd name="connsiteY4" fmla="*/ 52388 h 1477409"/>
              <a:gd name="connsiteX5" fmla="*/ 421482 w 1623138"/>
              <a:gd name="connsiteY5" fmla="*/ 0 h 1477409"/>
              <a:gd name="connsiteX6" fmla="*/ 595313 w 1623138"/>
              <a:gd name="connsiteY6" fmla="*/ 445294 h 1477409"/>
              <a:gd name="connsiteX7" fmla="*/ 923925 w 1623138"/>
              <a:gd name="connsiteY7" fmla="*/ 685799 h 1477409"/>
              <a:gd name="connsiteX8" fmla="*/ 621506 w 1623138"/>
              <a:gd name="connsiteY8" fmla="*/ 1031079 h 1477409"/>
              <a:gd name="connsiteX9" fmla="*/ 0 w 1623138"/>
              <a:gd name="connsiteY9" fmla="*/ 797716 h 1477409"/>
              <a:gd name="connsiteX0" fmla="*/ 0 w 1623138"/>
              <a:gd name="connsiteY0" fmla="*/ 797716 h 1477409"/>
              <a:gd name="connsiteX1" fmla="*/ 0 w 1623138"/>
              <a:gd name="connsiteY1" fmla="*/ 1326354 h 1477409"/>
              <a:gd name="connsiteX2" fmla="*/ 1574006 w 1623138"/>
              <a:gd name="connsiteY2" fmla="*/ 981073 h 1477409"/>
              <a:gd name="connsiteX3" fmla="*/ 1264443 w 1623138"/>
              <a:gd name="connsiteY3" fmla="*/ 219074 h 1477409"/>
              <a:gd name="connsiteX4" fmla="*/ 835820 w 1623138"/>
              <a:gd name="connsiteY4" fmla="*/ 52388 h 1477409"/>
              <a:gd name="connsiteX5" fmla="*/ 654844 w 1623138"/>
              <a:gd name="connsiteY5" fmla="*/ 26194 h 1477409"/>
              <a:gd name="connsiteX6" fmla="*/ 421482 w 1623138"/>
              <a:gd name="connsiteY6" fmla="*/ 0 h 1477409"/>
              <a:gd name="connsiteX7" fmla="*/ 595313 w 1623138"/>
              <a:gd name="connsiteY7" fmla="*/ 445294 h 1477409"/>
              <a:gd name="connsiteX8" fmla="*/ 923925 w 1623138"/>
              <a:gd name="connsiteY8" fmla="*/ 685799 h 1477409"/>
              <a:gd name="connsiteX9" fmla="*/ 621506 w 1623138"/>
              <a:gd name="connsiteY9" fmla="*/ 1031079 h 1477409"/>
              <a:gd name="connsiteX10" fmla="*/ 0 w 1623138"/>
              <a:gd name="connsiteY10" fmla="*/ 797716 h 1477409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652572"/>
              <a:gd name="connsiteX1" fmla="*/ 0 w 1623138"/>
              <a:gd name="connsiteY1" fmla="*/ 1647822 h 1652572"/>
              <a:gd name="connsiteX2" fmla="*/ 1574006 w 1623138"/>
              <a:gd name="connsiteY2" fmla="*/ 1302541 h 1652572"/>
              <a:gd name="connsiteX3" fmla="*/ 1264443 w 1623138"/>
              <a:gd name="connsiteY3" fmla="*/ 540542 h 1652572"/>
              <a:gd name="connsiteX4" fmla="*/ 835820 w 1623138"/>
              <a:gd name="connsiteY4" fmla="*/ 373856 h 1652572"/>
              <a:gd name="connsiteX5" fmla="*/ 807244 w 1623138"/>
              <a:gd name="connsiteY5" fmla="*/ 0 h 1652572"/>
              <a:gd name="connsiteX6" fmla="*/ 421482 w 1623138"/>
              <a:gd name="connsiteY6" fmla="*/ 321468 h 1652572"/>
              <a:gd name="connsiteX7" fmla="*/ 595313 w 1623138"/>
              <a:gd name="connsiteY7" fmla="*/ 766762 h 1652572"/>
              <a:gd name="connsiteX8" fmla="*/ 923925 w 1623138"/>
              <a:gd name="connsiteY8" fmla="*/ 1007267 h 1652572"/>
              <a:gd name="connsiteX9" fmla="*/ 621506 w 1623138"/>
              <a:gd name="connsiteY9" fmla="*/ 1352547 h 1652572"/>
              <a:gd name="connsiteX10" fmla="*/ 0 w 1623138"/>
              <a:gd name="connsiteY10" fmla="*/ 1119184 h 1652572"/>
              <a:gd name="connsiteX0" fmla="*/ 0 w 1627271"/>
              <a:gd name="connsiteY0" fmla="*/ 1119184 h 1712926"/>
              <a:gd name="connsiteX1" fmla="*/ 0 w 1627271"/>
              <a:gd name="connsiteY1" fmla="*/ 1647822 h 1712926"/>
              <a:gd name="connsiteX2" fmla="*/ 1574006 w 1627271"/>
              <a:gd name="connsiteY2" fmla="*/ 1302541 h 1712926"/>
              <a:gd name="connsiteX3" fmla="*/ 1264443 w 1627271"/>
              <a:gd name="connsiteY3" fmla="*/ 540542 h 1712926"/>
              <a:gd name="connsiteX4" fmla="*/ 835820 w 1627271"/>
              <a:gd name="connsiteY4" fmla="*/ 373856 h 1712926"/>
              <a:gd name="connsiteX5" fmla="*/ 807244 w 1627271"/>
              <a:gd name="connsiteY5" fmla="*/ 0 h 1712926"/>
              <a:gd name="connsiteX6" fmla="*/ 421482 w 1627271"/>
              <a:gd name="connsiteY6" fmla="*/ 321468 h 1712926"/>
              <a:gd name="connsiteX7" fmla="*/ 595313 w 1627271"/>
              <a:gd name="connsiteY7" fmla="*/ 766762 h 1712926"/>
              <a:gd name="connsiteX8" fmla="*/ 923925 w 1627271"/>
              <a:gd name="connsiteY8" fmla="*/ 1007267 h 1712926"/>
              <a:gd name="connsiteX9" fmla="*/ 621506 w 1627271"/>
              <a:gd name="connsiteY9" fmla="*/ 1352547 h 1712926"/>
              <a:gd name="connsiteX10" fmla="*/ 0 w 1627271"/>
              <a:gd name="connsiteY10" fmla="*/ 1119184 h 1712926"/>
              <a:gd name="connsiteX0" fmla="*/ 0 w 1627271"/>
              <a:gd name="connsiteY0" fmla="*/ 1119184 h 1797816"/>
              <a:gd name="connsiteX1" fmla="*/ 0 w 1627271"/>
              <a:gd name="connsiteY1" fmla="*/ 1647822 h 1797816"/>
              <a:gd name="connsiteX2" fmla="*/ 1574006 w 1627271"/>
              <a:gd name="connsiteY2" fmla="*/ 1302541 h 1797816"/>
              <a:gd name="connsiteX3" fmla="*/ 1264443 w 1627271"/>
              <a:gd name="connsiteY3" fmla="*/ 540542 h 1797816"/>
              <a:gd name="connsiteX4" fmla="*/ 835820 w 1627271"/>
              <a:gd name="connsiteY4" fmla="*/ 373856 h 1797816"/>
              <a:gd name="connsiteX5" fmla="*/ 807244 w 1627271"/>
              <a:gd name="connsiteY5" fmla="*/ 0 h 1797816"/>
              <a:gd name="connsiteX6" fmla="*/ 421482 w 1627271"/>
              <a:gd name="connsiteY6" fmla="*/ 321468 h 1797816"/>
              <a:gd name="connsiteX7" fmla="*/ 595313 w 1627271"/>
              <a:gd name="connsiteY7" fmla="*/ 766762 h 1797816"/>
              <a:gd name="connsiteX8" fmla="*/ 923925 w 1627271"/>
              <a:gd name="connsiteY8" fmla="*/ 1007267 h 1797816"/>
              <a:gd name="connsiteX9" fmla="*/ 621506 w 1627271"/>
              <a:gd name="connsiteY9" fmla="*/ 1352547 h 1797816"/>
              <a:gd name="connsiteX10" fmla="*/ 0 w 1627271"/>
              <a:gd name="connsiteY10" fmla="*/ 1119184 h 1797816"/>
              <a:gd name="connsiteX0" fmla="*/ 0 w 1622231"/>
              <a:gd name="connsiteY0" fmla="*/ 1119184 h 1773253"/>
              <a:gd name="connsiteX1" fmla="*/ 0 w 1622231"/>
              <a:gd name="connsiteY1" fmla="*/ 1647822 h 1773253"/>
              <a:gd name="connsiteX2" fmla="*/ 1574006 w 1622231"/>
              <a:gd name="connsiteY2" fmla="*/ 1302541 h 1773253"/>
              <a:gd name="connsiteX3" fmla="*/ 1264443 w 1622231"/>
              <a:gd name="connsiteY3" fmla="*/ 540542 h 1773253"/>
              <a:gd name="connsiteX4" fmla="*/ 835820 w 1622231"/>
              <a:gd name="connsiteY4" fmla="*/ 373856 h 1773253"/>
              <a:gd name="connsiteX5" fmla="*/ 807244 w 1622231"/>
              <a:gd name="connsiteY5" fmla="*/ 0 h 1773253"/>
              <a:gd name="connsiteX6" fmla="*/ 421482 w 1622231"/>
              <a:gd name="connsiteY6" fmla="*/ 321468 h 1773253"/>
              <a:gd name="connsiteX7" fmla="*/ 595313 w 1622231"/>
              <a:gd name="connsiteY7" fmla="*/ 766762 h 1773253"/>
              <a:gd name="connsiteX8" fmla="*/ 923925 w 1622231"/>
              <a:gd name="connsiteY8" fmla="*/ 1007267 h 1773253"/>
              <a:gd name="connsiteX9" fmla="*/ 621506 w 1622231"/>
              <a:gd name="connsiteY9" fmla="*/ 1352547 h 1773253"/>
              <a:gd name="connsiteX10" fmla="*/ 0 w 1622231"/>
              <a:gd name="connsiteY10" fmla="*/ 1119184 h 1773253"/>
              <a:gd name="connsiteX0" fmla="*/ 0 w 1622231"/>
              <a:gd name="connsiteY0" fmla="*/ 1119184 h 1800701"/>
              <a:gd name="connsiteX1" fmla="*/ 0 w 1622231"/>
              <a:gd name="connsiteY1" fmla="*/ 1647822 h 1800701"/>
              <a:gd name="connsiteX2" fmla="*/ 1574006 w 1622231"/>
              <a:gd name="connsiteY2" fmla="*/ 1302541 h 1800701"/>
              <a:gd name="connsiteX3" fmla="*/ 1264443 w 1622231"/>
              <a:gd name="connsiteY3" fmla="*/ 540542 h 1800701"/>
              <a:gd name="connsiteX4" fmla="*/ 835820 w 1622231"/>
              <a:gd name="connsiteY4" fmla="*/ 373856 h 1800701"/>
              <a:gd name="connsiteX5" fmla="*/ 807244 w 1622231"/>
              <a:gd name="connsiteY5" fmla="*/ 0 h 1800701"/>
              <a:gd name="connsiteX6" fmla="*/ 421482 w 1622231"/>
              <a:gd name="connsiteY6" fmla="*/ 321468 h 1800701"/>
              <a:gd name="connsiteX7" fmla="*/ 595313 w 1622231"/>
              <a:gd name="connsiteY7" fmla="*/ 766762 h 1800701"/>
              <a:gd name="connsiteX8" fmla="*/ 923925 w 1622231"/>
              <a:gd name="connsiteY8" fmla="*/ 1007267 h 1800701"/>
              <a:gd name="connsiteX9" fmla="*/ 621506 w 1622231"/>
              <a:gd name="connsiteY9" fmla="*/ 1352547 h 1800701"/>
              <a:gd name="connsiteX10" fmla="*/ 0 w 1622231"/>
              <a:gd name="connsiteY10" fmla="*/ 1119184 h 1800701"/>
              <a:gd name="connsiteX0" fmla="*/ 0 w 1552023"/>
              <a:gd name="connsiteY0" fmla="*/ 1119184 h 1859749"/>
              <a:gd name="connsiteX1" fmla="*/ 0 w 1552023"/>
              <a:gd name="connsiteY1" fmla="*/ 1647822 h 1859749"/>
              <a:gd name="connsiteX2" fmla="*/ 1462087 w 1552023"/>
              <a:gd name="connsiteY2" fmla="*/ 1469229 h 1859749"/>
              <a:gd name="connsiteX3" fmla="*/ 1264443 w 1552023"/>
              <a:gd name="connsiteY3" fmla="*/ 540542 h 1859749"/>
              <a:gd name="connsiteX4" fmla="*/ 835820 w 1552023"/>
              <a:gd name="connsiteY4" fmla="*/ 373856 h 1859749"/>
              <a:gd name="connsiteX5" fmla="*/ 807244 w 1552023"/>
              <a:gd name="connsiteY5" fmla="*/ 0 h 1859749"/>
              <a:gd name="connsiteX6" fmla="*/ 421482 w 1552023"/>
              <a:gd name="connsiteY6" fmla="*/ 321468 h 1859749"/>
              <a:gd name="connsiteX7" fmla="*/ 595313 w 1552023"/>
              <a:gd name="connsiteY7" fmla="*/ 766762 h 1859749"/>
              <a:gd name="connsiteX8" fmla="*/ 923925 w 1552023"/>
              <a:gd name="connsiteY8" fmla="*/ 1007267 h 1859749"/>
              <a:gd name="connsiteX9" fmla="*/ 621506 w 1552023"/>
              <a:gd name="connsiteY9" fmla="*/ 1352547 h 1859749"/>
              <a:gd name="connsiteX10" fmla="*/ 0 w 1552023"/>
              <a:gd name="connsiteY10" fmla="*/ 1119184 h 1859749"/>
              <a:gd name="connsiteX0" fmla="*/ 0 w 1571973"/>
              <a:gd name="connsiteY0" fmla="*/ 1119184 h 1800114"/>
              <a:gd name="connsiteX1" fmla="*/ 0 w 1571973"/>
              <a:gd name="connsiteY1" fmla="*/ 1647822 h 1800114"/>
              <a:gd name="connsiteX2" fmla="*/ 1462087 w 1571973"/>
              <a:gd name="connsiteY2" fmla="*/ 1469229 h 1800114"/>
              <a:gd name="connsiteX3" fmla="*/ 1264443 w 1571973"/>
              <a:gd name="connsiteY3" fmla="*/ 540542 h 1800114"/>
              <a:gd name="connsiteX4" fmla="*/ 835820 w 1571973"/>
              <a:gd name="connsiteY4" fmla="*/ 373856 h 1800114"/>
              <a:gd name="connsiteX5" fmla="*/ 807244 w 1571973"/>
              <a:gd name="connsiteY5" fmla="*/ 0 h 1800114"/>
              <a:gd name="connsiteX6" fmla="*/ 421482 w 1571973"/>
              <a:gd name="connsiteY6" fmla="*/ 321468 h 1800114"/>
              <a:gd name="connsiteX7" fmla="*/ 595313 w 1571973"/>
              <a:gd name="connsiteY7" fmla="*/ 766762 h 1800114"/>
              <a:gd name="connsiteX8" fmla="*/ 923925 w 1571973"/>
              <a:gd name="connsiteY8" fmla="*/ 1007267 h 1800114"/>
              <a:gd name="connsiteX9" fmla="*/ 621506 w 1571973"/>
              <a:gd name="connsiteY9" fmla="*/ 1352547 h 1800114"/>
              <a:gd name="connsiteX10" fmla="*/ 0 w 1571973"/>
              <a:gd name="connsiteY10" fmla="*/ 1119184 h 1800114"/>
              <a:gd name="connsiteX0" fmla="*/ 0 w 1620477"/>
              <a:gd name="connsiteY0" fmla="*/ 1119184 h 1800815"/>
              <a:gd name="connsiteX1" fmla="*/ 0 w 1620477"/>
              <a:gd name="connsiteY1" fmla="*/ 1647822 h 1800815"/>
              <a:gd name="connsiteX2" fmla="*/ 1462087 w 1620477"/>
              <a:gd name="connsiteY2" fmla="*/ 1469229 h 1800815"/>
              <a:gd name="connsiteX3" fmla="*/ 1264443 w 1620477"/>
              <a:gd name="connsiteY3" fmla="*/ 540542 h 1800815"/>
              <a:gd name="connsiteX4" fmla="*/ 835820 w 1620477"/>
              <a:gd name="connsiteY4" fmla="*/ 373856 h 1800815"/>
              <a:gd name="connsiteX5" fmla="*/ 807244 w 1620477"/>
              <a:gd name="connsiteY5" fmla="*/ 0 h 1800815"/>
              <a:gd name="connsiteX6" fmla="*/ 421482 w 1620477"/>
              <a:gd name="connsiteY6" fmla="*/ 321468 h 1800815"/>
              <a:gd name="connsiteX7" fmla="*/ 595313 w 1620477"/>
              <a:gd name="connsiteY7" fmla="*/ 766762 h 1800815"/>
              <a:gd name="connsiteX8" fmla="*/ 923925 w 1620477"/>
              <a:gd name="connsiteY8" fmla="*/ 1007267 h 1800815"/>
              <a:gd name="connsiteX9" fmla="*/ 621506 w 1620477"/>
              <a:gd name="connsiteY9" fmla="*/ 1352547 h 1800815"/>
              <a:gd name="connsiteX10" fmla="*/ 0 w 1620477"/>
              <a:gd name="connsiteY10" fmla="*/ 1119184 h 1800815"/>
              <a:gd name="connsiteX0" fmla="*/ 0 w 1629436"/>
              <a:gd name="connsiteY0" fmla="*/ 1119184 h 1799377"/>
              <a:gd name="connsiteX1" fmla="*/ 0 w 1629436"/>
              <a:gd name="connsiteY1" fmla="*/ 1647822 h 1799377"/>
              <a:gd name="connsiteX2" fmla="*/ 1476374 w 1629436"/>
              <a:gd name="connsiteY2" fmla="*/ 1464467 h 1799377"/>
              <a:gd name="connsiteX3" fmla="*/ 1264443 w 1629436"/>
              <a:gd name="connsiteY3" fmla="*/ 540542 h 1799377"/>
              <a:gd name="connsiteX4" fmla="*/ 835820 w 1629436"/>
              <a:gd name="connsiteY4" fmla="*/ 373856 h 1799377"/>
              <a:gd name="connsiteX5" fmla="*/ 807244 w 1629436"/>
              <a:gd name="connsiteY5" fmla="*/ 0 h 1799377"/>
              <a:gd name="connsiteX6" fmla="*/ 421482 w 1629436"/>
              <a:gd name="connsiteY6" fmla="*/ 321468 h 1799377"/>
              <a:gd name="connsiteX7" fmla="*/ 595313 w 1629436"/>
              <a:gd name="connsiteY7" fmla="*/ 766762 h 1799377"/>
              <a:gd name="connsiteX8" fmla="*/ 923925 w 1629436"/>
              <a:gd name="connsiteY8" fmla="*/ 1007267 h 1799377"/>
              <a:gd name="connsiteX9" fmla="*/ 621506 w 1629436"/>
              <a:gd name="connsiteY9" fmla="*/ 1352547 h 1799377"/>
              <a:gd name="connsiteX10" fmla="*/ 0 w 1629436"/>
              <a:gd name="connsiteY10" fmla="*/ 1119184 h 1799377"/>
              <a:gd name="connsiteX0" fmla="*/ 0 w 1606110"/>
              <a:gd name="connsiteY0" fmla="*/ 1119184 h 1796213"/>
              <a:gd name="connsiteX1" fmla="*/ 0 w 1606110"/>
              <a:gd name="connsiteY1" fmla="*/ 1647822 h 1796213"/>
              <a:gd name="connsiteX2" fmla="*/ 1476374 w 1606110"/>
              <a:gd name="connsiteY2" fmla="*/ 1464467 h 1796213"/>
              <a:gd name="connsiteX3" fmla="*/ 1264443 w 1606110"/>
              <a:gd name="connsiteY3" fmla="*/ 540542 h 1796213"/>
              <a:gd name="connsiteX4" fmla="*/ 835820 w 1606110"/>
              <a:gd name="connsiteY4" fmla="*/ 373856 h 1796213"/>
              <a:gd name="connsiteX5" fmla="*/ 807244 w 1606110"/>
              <a:gd name="connsiteY5" fmla="*/ 0 h 1796213"/>
              <a:gd name="connsiteX6" fmla="*/ 421482 w 1606110"/>
              <a:gd name="connsiteY6" fmla="*/ 321468 h 1796213"/>
              <a:gd name="connsiteX7" fmla="*/ 595313 w 1606110"/>
              <a:gd name="connsiteY7" fmla="*/ 766762 h 1796213"/>
              <a:gd name="connsiteX8" fmla="*/ 923925 w 1606110"/>
              <a:gd name="connsiteY8" fmla="*/ 1007267 h 1796213"/>
              <a:gd name="connsiteX9" fmla="*/ 621506 w 1606110"/>
              <a:gd name="connsiteY9" fmla="*/ 1352547 h 1796213"/>
              <a:gd name="connsiteX10" fmla="*/ 0 w 1606110"/>
              <a:gd name="connsiteY10" fmla="*/ 1119184 h 1796213"/>
              <a:gd name="connsiteX0" fmla="*/ 0 w 1625337"/>
              <a:gd name="connsiteY0" fmla="*/ 1119184 h 1796213"/>
              <a:gd name="connsiteX1" fmla="*/ 0 w 1625337"/>
              <a:gd name="connsiteY1" fmla="*/ 1647822 h 1796213"/>
              <a:gd name="connsiteX2" fmla="*/ 1476374 w 1625337"/>
              <a:gd name="connsiteY2" fmla="*/ 1464467 h 1796213"/>
              <a:gd name="connsiteX3" fmla="*/ 1264443 w 1625337"/>
              <a:gd name="connsiteY3" fmla="*/ 540542 h 1796213"/>
              <a:gd name="connsiteX4" fmla="*/ 835820 w 1625337"/>
              <a:gd name="connsiteY4" fmla="*/ 373856 h 1796213"/>
              <a:gd name="connsiteX5" fmla="*/ 807244 w 1625337"/>
              <a:gd name="connsiteY5" fmla="*/ 0 h 1796213"/>
              <a:gd name="connsiteX6" fmla="*/ 421482 w 1625337"/>
              <a:gd name="connsiteY6" fmla="*/ 321468 h 1796213"/>
              <a:gd name="connsiteX7" fmla="*/ 595313 w 1625337"/>
              <a:gd name="connsiteY7" fmla="*/ 766762 h 1796213"/>
              <a:gd name="connsiteX8" fmla="*/ 923925 w 1625337"/>
              <a:gd name="connsiteY8" fmla="*/ 1007267 h 1796213"/>
              <a:gd name="connsiteX9" fmla="*/ 621506 w 1625337"/>
              <a:gd name="connsiteY9" fmla="*/ 1352547 h 1796213"/>
              <a:gd name="connsiteX10" fmla="*/ 0 w 1625337"/>
              <a:gd name="connsiteY10" fmla="*/ 1119184 h 1796213"/>
              <a:gd name="connsiteX0" fmla="*/ 0 w 1625337"/>
              <a:gd name="connsiteY0" fmla="*/ 1119184 h 1803595"/>
              <a:gd name="connsiteX1" fmla="*/ 0 w 1625337"/>
              <a:gd name="connsiteY1" fmla="*/ 1647822 h 1803595"/>
              <a:gd name="connsiteX2" fmla="*/ 1476374 w 1625337"/>
              <a:gd name="connsiteY2" fmla="*/ 1464467 h 1803595"/>
              <a:gd name="connsiteX3" fmla="*/ 1264443 w 1625337"/>
              <a:gd name="connsiteY3" fmla="*/ 540542 h 1803595"/>
              <a:gd name="connsiteX4" fmla="*/ 835820 w 1625337"/>
              <a:gd name="connsiteY4" fmla="*/ 373856 h 1803595"/>
              <a:gd name="connsiteX5" fmla="*/ 807244 w 1625337"/>
              <a:gd name="connsiteY5" fmla="*/ 0 h 1803595"/>
              <a:gd name="connsiteX6" fmla="*/ 421482 w 1625337"/>
              <a:gd name="connsiteY6" fmla="*/ 321468 h 1803595"/>
              <a:gd name="connsiteX7" fmla="*/ 595313 w 1625337"/>
              <a:gd name="connsiteY7" fmla="*/ 766762 h 1803595"/>
              <a:gd name="connsiteX8" fmla="*/ 923925 w 1625337"/>
              <a:gd name="connsiteY8" fmla="*/ 1007267 h 1803595"/>
              <a:gd name="connsiteX9" fmla="*/ 621506 w 1625337"/>
              <a:gd name="connsiteY9" fmla="*/ 1352547 h 1803595"/>
              <a:gd name="connsiteX10" fmla="*/ 0 w 1625337"/>
              <a:gd name="connsiteY10" fmla="*/ 1119184 h 1803595"/>
              <a:gd name="connsiteX0" fmla="*/ 0 w 1625337"/>
              <a:gd name="connsiteY0" fmla="*/ 1119184 h 1799376"/>
              <a:gd name="connsiteX1" fmla="*/ 0 w 1625337"/>
              <a:gd name="connsiteY1" fmla="*/ 1647822 h 1799376"/>
              <a:gd name="connsiteX2" fmla="*/ 1476374 w 1625337"/>
              <a:gd name="connsiteY2" fmla="*/ 1464467 h 1799376"/>
              <a:gd name="connsiteX3" fmla="*/ 1264443 w 1625337"/>
              <a:gd name="connsiteY3" fmla="*/ 540542 h 1799376"/>
              <a:gd name="connsiteX4" fmla="*/ 835820 w 1625337"/>
              <a:gd name="connsiteY4" fmla="*/ 373856 h 1799376"/>
              <a:gd name="connsiteX5" fmla="*/ 807244 w 1625337"/>
              <a:gd name="connsiteY5" fmla="*/ 0 h 1799376"/>
              <a:gd name="connsiteX6" fmla="*/ 421482 w 1625337"/>
              <a:gd name="connsiteY6" fmla="*/ 321468 h 1799376"/>
              <a:gd name="connsiteX7" fmla="*/ 595313 w 1625337"/>
              <a:gd name="connsiteY7" fmla="*/ 766762 h 1799376"/>
              <a:gd name="connsiteX8" fmla="*/ 923925 w 1625337"/>
              <a:gd name="connsiteY8" fmla="*/ 1007267 h 1799376"/>
              <a:gd name="connsiteX9" fmla="*/ 621506 w 1625337"/>
              <a:gd name="connsiteY9" fmla="*/ 1352547 h 1799376"/>
              <a:gd name="connsiteX10" fmla="*/ 0 w 1625337"/>
              <a:gd name="connsiteY10" fmla="*/ 1119184 h 1799376"/>
              <a:gd name="connsiteX0" fmla="*/ 0 w 1635914"/>
              <a:gd name="connsiteY0" fmla="*/ 1119184 h 1799376"/>
              <a:gd name="connsiteX1" fmla="*/ 0 w 1635914"/>
              <a:gd name="connsiteY1" fmla="*/ 1647822 h 1799376"/>
              <a:gd name="connsiteX2" fmla="*/ 1476374 w 1635914"/>
              <a:gd name="connsiteY2" fmla="*/ 1464467 h 1799376"/>
              <a:gd name="connsiteX3" fmla="*/ 1264443 w 1635914"/>
              <a:gd name="connsiteY3" fmla="*/ 540542 h 1799376"/>
              <a:gd name="connsiteX4" fmla="*/ 835820 w 1635914"/>
              <a:gd name="connsiteY4" fmla="*/ 373856 h 1799376"/>
              <a:gd name="connsiteX5" fmla="*/ 807244 w 1635914"/>
              <a:gd name="connsiteY5" fmla="*/ 0 h 1799376"/>
              <a:gd name="connsiteX6" fmla="*/ 421482 w 1635914"/>
              <a:gd name="connsiteY6" fmla="*/ 321468 h 1799376"/>
              <a:gd name="connsiteX7" fmla="*/ 595313 w 1635914"/>
              <a:gd name="connsiteY7" fmla="*/ 766762 h 1799376"/>
              <a:gd name="connsiteX8" fmla="*/ 923925 w 1635914"/>
              <a:gd name="connsiteY8" fmla="*/ 1007267 h 1799376"/>
              <a:gd name="connsiteX9" fmla="*/ 621506 w 1635914"/>
              <a:gd name="connsiteY9" fmla="*/ 1352547 h 1799376"/>
              <a:gd name="connsiteX10" fmla="*/ 0 w 1635914"/>
              <a:gd name="connsiteY10" fmla="*/ 1119184 h 1799376"/>
              <a:gd name="connsiteX0" fmla="*/ 0 w 1720482"/>
              <a:gd name="connsiteY0" fmla="*/ 1119184 h 1772537"/>
              <a:gd name="connsiteX1" fmla="*/ 0 w 1720482"/>
              <a:gd name="connsiteY1" fmla="*/ 1647822 h 1772537"/>
              <a:gd name="connsiteX2" fmla="*/ 1476374 w 1720482"/>
              <a:gd name="connsiteY2" fmla="*/ 1464467 h 1772537"/>
              <a:gd name="connsiteX3" fmla="*/ 1397793 w 1720482"/>
              <a:gd name="connsiteY3" fmla="*/ 626267 h 1772537"/>
              <a:gd name="connsiteX4" fmla="*/ 835820 w 1720482"/>
              <a:gd name="connsiteY4" fmla="*/ 373856 h 1772537"/>
              <a:gd name="connsiteX5" fmla="*/ 807244 w 1720482"/>
              <a:gd name="connsiteY5" fmla="*/ 0 h 1772537"/>
              <a:gd name="connsiteX6" fmla="*/ 421482 w 1720482"/>
              <a:gd name="connsiteY6" fmla="*/ 321468 h 1772537"/>
              <a:gd name="connsiteX7" fmla="*/ 595313 w 1720482"/>
              <a:gd name="connsiteY7" fmla="*/ 766762 h 1772537"/>
              <a:gd name="connsiteX8" fmla="*/ 923925 w 1720482"/>
              <a:gd name="connsiteY8" fmla="*/ 1007267 h 1772537"/>
              <a:gd name="connsiteX9" fmla="*/ 621506 w 1720482"/>
              <a:gd name="connsiteY9" fmla="*/ 1352547 h 1772537"/>
              <a:gd name="connsiteX10" fmla="*/ 0 w 1720482"/>
              <a:gd name="connsiteY10" fmla="*/ 1119184 h 1772537"/>
              <a:gd name="connsiteX0" fmla="*/ 0 w 1630664"/>
              <a:gd name="connsiteY0" fmla="*/ 1119184 h 1772537"/>
              <a:gd name="connsiteX1" fmla="*/ 0 w 1630664"/>
              <a:gd name="connsiteY1" fmla="*/ 1647822 h 1772537"/>
              <a:gd name="connsiteX2" fmla="*/ 1476374 w 1630664"/>
              <a:gd name="connsiteY2" fmla="*/ 1464467 h 1772537"/>
              <a:gd name="connsiteX3" fmla="*/ 1397793 w 1630664"/>
              <a:gd name="connsiteY3" fmla="*/ 626267 h 1772537"/>
              <a:gd name="connsiteX4" fmla="*/ 835820 w 1630664"/>
              <a:gd name="connsiteY4" fmla="*/ 373856 h 1772537"/>
              <a:gd name="connsiteX5" fmla="*/ 807244 w 1630664"/>
              <a:gd name="connsiteY5" fmla="*/ 0 h 1772537"/>
              <a:gd name="connsiteX6" fmla="*/ 421482 w 1630664"/>
              <a:gd name="connsiteY6" fmla="*/ 321468 h 1772537"/>
              <a:gd name="connsiteX7" fmla="*/ 595313 w 1630664"/>
              <a:gd name="connsiteY7" fmla="*/ 766762 h 1772537"/>
              <a:gd name="connsiteX8" fmla="*/ 923925 w 1630664"/>
              <a:gd name="connsiteY8" fmla="*/ 1007267 h 1772537"/>
              <a:gd name="connsiteX9" fmla="*/ 621506 w 1630664"/>
              <a:gd name="connsiteY9" fmla="*/ 1352547 h 1772537"/>
              <a:gd name="connsiteX10" fmla="*/ 0 w 1630664"/>
              <a:gd name="connsiteY10" fmla="*/ 1119184 h 1772537"/>
              <a:gd name="connsiteX0" fmla="*/ 0 w 1615856"/>
              <a:gd name="connsiteY0" fmla="*/ 1119184 h 1800557"/>
              <a:gd name="connsiteX1" fmla="*/ 0 w 1615856"/>
              <a:gd name="connsiteY1" fmla="*/ 1647822 h 1800557"/>
              <a:gd name="connsiteX2" fmla="*/ 1476374 w 1615856"/>
              <a:gd name="connsiteY2" fmla="*/ 1464467 h 1800557"/>
              <a:gd name="connsiteX3" fmla="*/ 1397793 w 1615856"/>
              <a:gd name="connsiteY3" fmla="*/ 626267 h 1800557"/>
              <a:gd name="connsiteX4" fmla="*/ 835820 w 1615856"/>
              <a:gd name="connsiteY4" fmla="*/ 373856 h 1800557"/>
              <a:gd name="connsiteX5" fmla="*/ 807244 w 1615856"/>
              <a:gd name="connsiteY5" fmla="*/ 0 h 1800557"/>
              <a:gd name="connsiteX6" fmla="*/ 421482 w 1615856"/>
              <a:gd name="connsiteY6" fmla="*/ 321468 h 1800557"/>
              <a:gd name="connsiteX7" fmla="*/ 595313 w 1615856"/>
              <a:gd name="connsiteY7" fmla="*/ 766762 h 1800557"/>
              <a:gd name="connsiteX8" fmla="*/ 923925 w 1615856"/>
              <a:gd name="connsiteY8" fmla="*/ 1007267 h 1800557"/>
              <a:gd name="connsiteX9" fmla="*/ 621506 w 1615856"/>
              <a:gd name="connsiteY9" fmla="*/ 1352547 h 1800557"/>
              <a:gd name="connsiteX10" fmla="*/ 0 w 1615856"/>
              <a:gd name="connsiteY10" fmla="*/ 1119184 h 1800557"/>
              <a:gd name="connsiteX0" fmla="*/ 0 w 1626496"/>
              <a:gd name="connsiteY0" fmla="*/ 1119184 h 1800277"/>
              <a:gd name="connsiteX1" fmla="*/ 0 w 1626496"/>
              <a:gd name="connsiteY1" fmla="*/ 1647822 h 1800277"/>
              <a:gd name="connsiteX2" fmla="*/ 1476374 w 1626496"/>
              <a:gd name="connsiteY2" fmla="*/ 1464467 h 1800277"/>
              <a:gd name="connsiteX3" fmla="*/ 1397793 w 1626496"/>
              <a:gd name="connsiteY3" fmla="*/ 626267 h 1800277"/>
              <a:gd name="connsiteX4" fmla="*/ 835820 w 1626496"/>
              <a:gd name="connsiteY4" fmla="*/ 373856 h 1800277"/>
              <a:gd name="connsiteX5" fmla="*/ 807244 w 1626496"/>
              <a:gd name="connsiteY5" fmla="*/ 0 h 1800277"/>
              <a:gd name="connsiteX6" fmla="*/ 421482 w 1626496"/>
              <a:gd name="connsiteY6" fmla="*/ 321468 h 1800277"/>
              <a:gd name="connsiteX7" fmla="*/ 595313 w 1626496"/>
              <a:gd name="connsiteY7" fmla="*/ 766762 h 1800277"/>
              <a:gd name="connsiteX8" fmla="*/ 923925 w 1626496"/>
              <a:gd name="connsiteY8" fmla="*/ 1007267 h 1800277"/>
              <a:gd name="connsiteX9" fmla="*/ 621506 w 1626496"/>
              <a:gd name="connsiteY9" fmla="*/ 1352547 h 1800277"/>
              <a:gd name="connsiteX10" fmla="*/ 0 w 1626496"/>
              <a:gd name="connsiteY10" fmla="*/ 1119184 h 1800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626496" h="1800277">
                <a:moveTo>
                  <a:pt x="0" y="1119184"/>
                </a:moveTo>
                <a:lnTo>
                  <a:pt x="0" y="1647822"/>
                </a:lnTo>
                <a:cubicBezTo>
                  <a:pt x="686196" y="1947462"/>
                  <a:pt x="1196953" y="1762179"/>
                  <a:pt x="1476374" y="1464467"/>
                </a:cubicBezTo>
                <a:cubicBezTo>
                  <a:pt x="1699180" y="1227076"/>
                  <a:pt x="1674781" y="817990"/>
                  <a:pt x="1397793" y="626267"/>
                </a:cubicBezTo>
                <a:cubicBezTo>
                  <a:pt x="1228944" y="509394"/>
                  <a:pt x="1023144" y="457993"/>
                  <a:pt x="835820" y="373856"/>
                </a:cubicBezTo>
                <a:cubicBezTo>
                  <a:pt x="676275" y="325437"/>
                  <a:pt x="542926" y="112711"/>
                  <a:pt x="807244" y="0"/>
                </a:cubicBezTo>
                <a:cubicBezTo>
                  <a:pt x="507207" y="50006"/>
                  <a:pt x="440530" y="235745"/>
                  <a:pt x="421482" y="321468"/>
                </a:cubicBezTo>
                <a:cubicBezTo>
                  <a:pt x="362745" y="574674"/>
                  <a:pt x="546894" y="723107"/>
                  <a:pt x="595313" y="766762"/>
                </a:cubicBezTo>
                <a:cubicBezTo>
                  <a:pt x="664369" y="835024"/>
                  <a:pt x="857250" y="884236"/>
                  <a:pt x="923925" y="1007267"/>
                </a:cubicBezTo>
                <a:cubicBezTo>
                  <a:pt x="992188" y="1158079"/>
                  <a:pt x="883541" y="1334500"/>
                  <a:pt x="621506" y="1352547"/>
                </a:cubicBezTo>
                <a:cubicBezTo>
                  <a:pt x="455755" y="1363963"/>
                  <a:pt x="205977" y="1265235"/>
                  <a:pt x="0" y="1119184"/>
                </a:cubicBezTo>
                <a:close/>
              </a:path>
            </a:pathLst>
          </a:custGeom>
          <a:solidFill>
            <a:srgbClr val="0F238C"/>
          </a:solidFill>
          <a:ln w="127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noProof="0">
              <a:solidFill>
                <a:schemeClr val="accent1"/>
              </a:solidFill>
            </a:endParaRPr>
          </a:p>
        </p:txBody>
      </p:sp>
      <p:sp>
        <p:nvSpPr>
          <p:cNvPr id="31" name="Freeform 30"/>
          <p:cNvSpPr/>
          <p:nvPr userDrawn="1"/>
        </p:nvSpPr>
        <p:spPr>
          <a:xfrm>
            <a:off x="1090169" y="2921722"/>
            <a:ext cx="377466" cy="218603"/>
          </a:xfrm>
          <a:custGeom>
            <a:avLst/>
            <a:gdLst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13690"/>
              <a:gd name="connsiteY0" fmla="*/ 635794 h 788194"/>
              <a:gd name="connsiteX1" fmla="*/ 1402556 w 1413690"/>
              <a:gd name="connsiteY1" fmla="*/ 64294 h 788194"/>
              <a:gd name="connsiteX2" fmla="*/ 547687 w 1413690"/>
              <a:gd name="connsiteY2" fmla="*/ 0 h 788194"/>
              <a:gd name="connsiteX3" fmla="*/ 14287 w 1413690"/>
              <a:gd name="connsiteY3" fmla="*/ 469106 h 788194"/>
              <a:gd name="connsiteX4" fmla="*/ 0 w 1413690"/>
              <a:gd name="connsiteY4" fmla="*/ 788194 h 788194"/>
              <a:gd name="connsiteX5" fmla="*/ 283368 w 1413690"/>
              <a:gd name="connsiteY5" fmla="*/ 438150 h 788194"/>
              <a:gd name="connsiteX6" fmla="*/ 821531 w 1413690"/>
              <a:gd name="connsiteY6" fmla="*/ 371475 h 788194"/>
              <a:gd name="connsiteX7" fmla="*/ 1404937 w 1413690"/>
              <a:gd name="connsiteY7" fmla="*/ 635794 h 788194"/>
              <a:gd name="connsiteX0" fmla="*/ 1404937 w 1417413"/>
              <a:gd name="connsiteY0" fmla="*/ 635794 h 788194"/>
              <a:gd name="connsiteX1" fmla="*/ 1402556 w 1417413"/>
              <a:gd name="connsiteY1" fmla="*/ 64294 h 788194"/>
              <a:gd name="connsiteX2" fmla="*/ 547687 w 1417413"/>
              <a:gd name="connsiteY2" fmla="*/ 0 h 788194"/>
              <a:gd name="connsiteX3" fmla="*/ 14287 w 1417413"/>
              <a:gd name="connsiteY3" fmla="*/ 469106 h 788194"/>
              <a:gd name="connsiteX4" fmla="*/ 0 w 1417413"/>
              <a:gd name="connsiteY4" fmla="*/ 788194 h 788194"/>
              <a:gd name="connsiteX5" fmla="*/ 283368 w 1417413"/>
              <a:gd name="connsiteY5" fmla="*/ 438150 h 788194"/>
              <a:gd name="connsiteX6" fmla="*/ 821531 w 1417413"/>
              <a:gd name="connsiteY6" fmla="*/ 371475 h 788194"/>
              <a:gd name="connsiteX7" fmla="*/ 1404937 w 1417413"/>
              <a:gd name="connsiteY7" fmla="*/ 635794 h 788194"/>
              <a:gd name="connsiteX0" fmla="*/ 1404937 w 1417413"/>
              <a:gd name="connsiteY0" fmla="*/ 636458 h 788858"/>
              <a:gd name="connsiteX1" fmla="*/ 1402556 w 1417413"/>
              <a:gd name="connsiteY1" fmla="*/ 64958 h 788858"/>
              <a:gd name="connsiteX2" fmla="*/ 547687 w 1417413"/>
              <a:gd name="connsiteY2" fmla="*/ 664 h 788858"/>
              <a:gd name="connsiteX3" fmla="*/ 14287 w 1417413"/>
              <a:gd name="connsiteY3" fmla="*/ 469770 h 788858"/>
              <a:gd name="connsiteX4" fmla="*/ 0 w 1417413"/>
              <a:gd name="connsiteY4" fmla="*/ 788858 h 788858"/>
              <a:gd name="connsiteX5" fmla="*/ 283368 w 1417413"/>
              <a:gd name="connsiteY5" fmla="*/ 438814 h 788858"/>
              <a:gd name="connsiteX6" fmla="*/ 821531 w 1417413"/>
              <a:gd name="connsiteY6" fmla="*/ 372139 h 788858"/>
              <a:gd name="connsiteX7" fmla="*/ 1404937 w 1417413"/>
              <a:gd name="connsiteY7" fmla="*/ 636458 h 788858"/>
              <a:gd name="connsiteX0" fmla="*/ 1404937 w 1417413"/>
              <a:gd name="connsiteY0" fmla="*/ 659983 h 812383"/>
              <a:gd name="connsiteX1" fmla="*/ 1402556 w 1417413"/>
              <a:gd name="connsiteY1" fmla="*/ 88483 h 812383"/>
              <a:gd name="connsiteX2" fmla="*/ 547687 w 1417413"/>
              <a:gd name="connsiteY2" fmla="*/ 24189 h 812383"/>
              <a:gd name="connsiteX3" fmla="*/ 14287 w 1417413"/>
              <a:gd name="connsiteY3" fmla="*/ 493295 h 812383"/>
              <a:gd name="connsiteX4" fmla="*/ 0 w 1417413"/>
              <a:gd name="connsiteY4" fmla="*/ 812383 h 812383"/>
              <a:gd name="connsiteX5" fmla="*/ 283368 w 1417413"/>
              <a:gd name="connsiteY5" fmla="*/ 462339 h 812383"/>
              <a:gd name="connsiteX6" fmla="*/ 821531 w 1417413"/>
              <a:gd name="connsiteY6" fmla="*/ 395664 h 812383"/>
              <a:gd name="connsiteX7" fmla="*/ 1404937 w 1417413"/>
              <a:gd name="connsiteY7" fmla="*/ 659983 h 812383"/>
              <a:gd name="connsiteX0" fmla="*/ 1404937 w 1417413"/>
              <a:gd name="connsiteY0" fmla="*/ 674932 h 827332"/>
              <a:gd name="connsiteX1" fmla="*/ 1402556 w 1417413"/>
              <a:gd name="connsiteY1" fmla="*/ 103432 h 827332"/>
              <a:gd name="connsiteX2" fmla="*/ 547687 w 1417413"/>
              <a:gd name="connsiteY2" fmla="*/ 39138 h 827332"/>
              <a:gd name="connsiteX3" fmla="*/ 14287 w 1417413"/>
              <a:gd name="connsiteY3" fmla="*/ 508244 h 827332"/>
              <a:gd name="connsiteX4" fmla="*/ 0 w 1417413"/>
              <a:gd name="connsiteY4" fmla="*/ 827332 h 827332"/>
              <a:gd name="connsiteX5" fmla="*/ 283368 w 1417413"/>
              <a:gd name="connsiteY5" fmla="*/ 477288 h 827332"/>
              <a:gd name="connsiteX6" fmla="*/ 821531 w 1417413"/>
              <a:gd name="connsiteY6" fmla="*/ 410613 h 827332"/>
              <a:gd name="connsiteX7" fmla="*/ 1404937 w 1417413"/>
              <a:gd name="connsiteY7" fmla="*/ 674932 h 827332"/>
              <a:gd name="connsiteX0" fmla="*/ 1404937 w 1417413"/>
              <a:gd name="connsiteY0" fmla="*/ 674932 h 827332"/>
              <a:gd name="connsiteX1" fmla="*/ 1402556 w 1417413"/>
              <a:gd name="connsiteY1" fmla="*/ 103432 h 827332"/>
              <a:gd name="connsiteX2" fmla="*/ 547687 w 1417413"/>
              <a:gd name="connsiteY2" fmla="*/ 39138 h 827332"/>
              <a:gd name="connsiteX3" fmla="*/ 14287 w 1417413"/>
              <a:gd name="connsiteY3" fmla="*/ 508244 h 827332"/>
              <a:gd name="connsiteX4" fmla="*/ 0 w 1417413"/>
              <a:gd name="connsiteY4" fmla="*/ 827332 h 827332"/>
              <a:gd name="connsiteX5" fmla="*/ 283368 w 1417413"/>
              <a:gd name="connsiteY5" fmla="*/ 477288 h 827332"/>
              <a:gd name="connsiteX6" fmla="*/ 821531 w 1417413"/>
              <a:gd name="connsiteY6" fmla="*/ 410613 h 827332"/>
              <a:gd name="connsiteX7" fmla="*/ 1404937 w 1417413"/>
              <a:gd name="connsiteY7" fmla="*/ 674932 h 827332"/>
              <a:gd name="connsiteX0" fmla="*/ 1406804 w 1419280"/>
              <a:gd name="connsiteY0" fmla="*/ 674932 h 827332"/>
              <a:gd name="connsiteX1" fmla="*/ 1404423 w 1419280"/>
              <a:gd name="connsiteY1" fmla="*/ 103432 h 827332"/>
              <a:gd name="connsiteX2" fmla="*/ 549554 w 1419280"/>
              <a:gd name="connsiteY2" fmla="*/ 39138 h 827332"/>
              <a:gd name="connsiteX3" fmla="*/ 16154 w 1419280"/>
              <a:gd name="connsiteY3" fmla="*/ 508244 h 827332"/>
              <a:gd name="connsiteX4" fmla="*/ 1867 w 1419280"/>
              <a:gd name="connsiteY4" fmla="*/ 827332 h 827332"/>
              <a:gd name="connsiteX5" fmla="*/ 285235 w 1419280"/>
              <a:gd name="connsiteY5" fmla="*/ 477288 h 827332"/>
              <a:gd name="connsiteX6" fmla="*/ 823398 w 1419280"/>
              <a:gd name="connsiteY6" fmla="*/ 410613 h 827332"/>
              <a:gd name="connsiteX7" fmla="*/ 1406804 w 1419280"/>
              <a:gd name="connsiteY7" fmla="*/ 674932 h 827332"/>
              <a:gd name="connsiteX0" fmla="*/ 1409119 w 1421595"/>
              <a:gd name="connsiteY0" fmla="*/ 674932 h 827332"/>
              <a:gd name="connsiteX1" fmla="*/ 1406738 w 1421595"/>
              <a:gd name="connsiteY1" fmla="*/ 103432 h 827332"/>
              <a:gd name="connsiteX2" fmla="*/ 551869 w 1421595"/>
              <a:gd name="connsiteY2" fmla="*/ 39138 h 827332"/>
              <a:gd name="connsiteX3" fmla="*/ 18469 w 1421595"/>
              <a:gd name="connsiteY3" fmla="*/ 508244 h 827332"/>
              <a:gd name="connsiteX4" fmla="*/ 4182 w 1421595"/>
              <a:gd name="connsiteY4" fmla="*/ 827332 h 827332"/>
              <a:gd name="connsiteX5" fmla="*/ 287550 w 1421595"/>
              <a:gd name="connsiteY5" fmla="*/ 477288 h 827332"/>
              <a:gd name="connsiteX6" fmla="*/ 825713 w 1421595"/>
              <a:gd name="connsiteY6" fmla="*/ 410613 h 827332"/>
              <a:gd name="connsiteX7" fmla="*/ 1409119 w 1421595"/>
              <a:gd name="connsiteY7" fmla="*/ 674932 h 827332"/>
              <a:gd name="connsiteX0" fmla="*/ 1417088 w 1429564"/>
              <a:gd name="connsiteY0" fmla="*/ 674932 h 827332"/>
              <a:gd name="connsiteX1" fmla="*/ 1414707 w 1429564"/>
              <a:gd name="connsiteY1" fmla="*/ 103432 h 827332"/>
              <a:gd name="connsiteX2" fmla="*/ 559838 w 1429564"/>
              <a:gd name="connsiteY2" fmla="*/ 39138 h 827332"/>
              <a:gd name="connsiteX3" fmla="*/ 26438 w 1429564"/>
              <a:gd name="connsiteY3" fmla="*/ 508244 h 827332"/>
              <a:gd name="connsiteX4" fmla="*/ 12151 w 1429564"/>
              <a:gd name="connsiteY4" fmla="*/ 827332 h 827332"/>
              <a:gd name="connsiteX5" fmla="*/ 295519 w 1429564"/>
              <a:gd name="connsiteY5" fmla="*/ 477288 h 827332"/>
              <a:gd name="connsiteX6" fmla="*/ 833682 w 1429564"/>
              <a:gd name="connsiteY6" fmla="*/ 410613 h 827332"/>
              <a:gd name="connsiteX7" fmla="*/ 1417088 w 1429564"/>
              <a:gd name="connsiteY7" fmla="*/ 674932 h 827332"/>
              <a:gd name="connsiteX0" fmla="*/ 1417088 w 1429564"/>
              <a:gd name="connsiteY0" fmla="*/ 674932 h 827332"/>
              <a:gd name="connsiteX1" fmla="*/ 1414707 w 1429564"/>
              <a:gd name="connsiteY1" fmla="*/ 103432 h 827332"/>
              <a:gd name="connsiteX2" fmla="*/ 559838 w 1429564"/>
              <a:gd name="connsiteY2" fmla="*/ 39138 h 827332"/>
              <a:gd name="connsiteX3" fmla="*/ 26438 w 1429564"/>
              <a:gd name="connsiteY3" fmla="*/ 508244 h 827332"/>
              <a:gd name="connsiteX4" fmla="*/ 12151 w 1429564"/>
              <a:gd name="connsiteY4" fmla="*/ 827332 h 827332"/>
              <a:gd name="connsiteX5" fmla="*/ 295519 w 1429564"/>
              <a:gd name="connsiteY5" fmla="*/ 477288 h 827332"/>
              <a:gd name="connsiteX6" fmla="*/ 833682 w 1429564"/>
              <a:gd name="connsiteY6" fmla="*/ 410613 h 827332"/>
              <a:gd name="connsiteX7" fmla="*/ 1417088 w 1429564"/>
              <a:gd name="connsiteY7" fmla="*/ 674932 h 827332"/>
              <a:gd name="connsiteX0" fmla="*/ 1417088 w 1428573"/>
              <a:gd name="connsiteY0" fmla="*/ 674932 h 827332"/>
              <a:gd name="connsiteX1" fmla="*/ 1414707 w 1428573"/>
              <a:gd name="connsiteY1" fmla="*/ 103432 h 827332"/>
              <a:gd name="connsiteX2" fmla="*/ 559838 w 1428573"/>
              <a:gd name="connsiteY2" fmla="*/ 39138 h 827332"/>
              <a:gd name="connsiteX3" fmla="*/ 26438 w 1428573"/>
              <a:gd name="connsiteY3" fmla="*/ 508244 h 827332"/>
              <a:gd name="connsiteX4" fmla="*/ 12151 w 1428573"/>
              <a:gd name="connsiteY4" fmla="*/ 827332 h 827332"/>
              <a:gd name="connsiteX5" fmla="*/ 295519 w 1428573"/>
              <a:gd name="connsiteY5" fmla="*/ 477288 h 827332"/>
              <a:gd name="connsiteX6" fmla="*/ 833682 w 1428573"/>
              <a:gd name="connsiteY6" fmla="*/ 410613 h 827332"/>
              <a:gd name="connsiteX7" fmla="*/ 1417088 w 1428573"/>
              <a:gd name="connsiteY7" fmla="*/ 674932 h 827332"/>
              <a:gd name="connsiteX0" fmla="*/ 1417088 w 1428573"/>
              <a:gd name="connsiteY0" fmla="*/ 674932 h 827332"/>
              <a:gd name="connsiteX1" fmla="*/ 1414707 w 1428573"/>
              <a:gd name="connsiteY1" fmla="*/ 103432 h 827332"/>
              <a:gd name="connsiteX2" fmla="*/ 559838 w 1428573"/>
              <a:gd name="connsiteY2" fmla="*/ 39138 h 827332"/>
              <a:gd name="connsiteX3" fmla="*/ 26438 w 1428573"/>
              <a:gd name="connsiteY3" fmla="*/ 508244 h 827332"/>
              <a:gd name="connsiteX4" fmla="*/ 12151 w 1428573"/>
              <a:gd name="connsiteY4" fmla="*/ 827332 h 827332"/>
              <a:gd name="connsiteX5" fmla="*/ 295519 w 1428573"/>
              <a:gd name="connsiteY5" fmla="*/ 477288 h 827332"/>
              <a:gd name="connsiteX6" fmla="*/ 833682 w 1428573"/>
              <a:gd name="connsiteY6" fmla="*/ 410613 h 827332"/>
              <a:gd name="connsiteX7" fmla="*/ 1417088 w 1428573"/>
              <a:gd name="connsiteY7" fmla="*/ 674932 h 827332"/>
              <a:gd name="connsiteX0" fmla="*/ 1420075 w 1431560"/>
              <a:gd name="connsiteY0" fmla="*/ 674932 h 827332"/>
              <a:gd name="connsiteX1" fmla="*/ 1417694 w 1431560"/>
              <a:gd name="connsiteY1" fmla="*/ 103432 h 827332"/>
              <a:gd name="connsiteX2" fmla="*/ 562825 w 1431560"/>
              <a:gd name="connsiteY2" fmla="*/ 39138 h 827332"/>
              <a:gd name="connsiteX3" fmla="*/ 29425 w 1431560"/>
              <a:gd name="connsiteY3" fmla="*/ 508244 h 827332"/>
              <a:gd name="connsiteX4" fmla="*/ 15138 w 1431560"/>
              <a:gd name="connsiteY4" fmla="*/ 827332 h 827332"/>
              <a:gd name="connsiteX5" fmla="*/ 298506 w 1431560"/>
              <a:gd name="connsiteY5" fmla="*/ 477288 h 827332"/>
              <a:gd name="connsiteX6" fmla="*/ 836669 w 1431560"/>
              <a:gd name="connsiteY6" fmla="*/ 410613 h 827332"/>
              <a:gd name="connsiteX7" fmla="*/ 1420075 w 1431560"/>
              <a:gd name="connsiteY7" fmla="*/ 674932 h 827332"/>
              <a:gd name="connsiteX0" fmla="*/ 1420075 w 1431560"/>
              <a:gd name="connsiteY0" fmla="*/ 674932 h 827332"/>
              <a:gd name="connsiteX1" fmla="*/ 1417694 w 1431560"/>
              <a:gd name="connsiteY1" fmla="*/ 103432 h 827332"/>
              <a:gd name="connsiteX2" fmla="*/ 562825 w 1431560"/>
              <a:gd name="connsiteY2" fmla="*/ 39138 h 827332"/>
              <a:gd name="connsiteX3" fmla="*/ 29425 w 1431560"/>
              <a:gd name="connsiteY3" fmla="*/ 508244 h 827332"/>
              <a:gd name="connsiteX4" fmla="*/ 15138 w 1431560"/>
              <a:gd name="connsiteY4" fmla="*/ 827332 h 827332"/>
              <a:gd name="connsiteX5" fmla="*/ 298506 w 1431560"/>
              <a:gd name="connsiteY5" fmla="*/ 477288 h 827332"/>
              <a:gd name="connsiteX6" fmla="*/ 836669 w 1431560"/>
              <a:gd name="connsiteY6" fmla="*/ 410613 h 827332"/>
              <a:gd name="connsiteX7" fmla="*/ 1420075 w 1431560"/>
              <a:gd name="connsiteY7" fmla="*/ 674932 h 827332"/>
              <a:gd name="connsiteX0" fmla="*/ 1417089 w 1428574"/>
              <a:gd name="connsiteY0" fmla="*/ 674932 h 827332"/>
              <a:gd name="connsiteX1" fmla="*/ 1414708 w 1428574"/>
              <a:gd name="connsiteY1" fmla="*/ 103432 h 827332"/>
              <a:gd name="connsiteX2" fmla="*/ 559839 w 1428574"/>
              <a:gd name="connsiteY2" fmla="*/ 39138 h 827332"/>
              <a:gd name="connsiteX3" fmla="*/ 26439 w 1428574"/>
              <a:gd name="connsiteY3" fmla="*/ 508244 h 827332"/>
              <a:gd name="connsiteX4" fmla="*/ 12152 w 1428574"/>
              <a:gd name="connsiteY4" fmla="*/ 827332 h 827332"/>
              <a:gd name="connsiteX5" fmla="*/ 295520 w 1428574"/>
              <a:gd name="connsiteY5" fmla="*/ 477288 h 827332"/>
              <a:gd name="connsiteX6" fmla="*/ 833683 w 1428574"/>
              <a:gd name="connsiteY6" fmla="*/ 410613 h 827332"/>
              <a:gd name="connsiteX7" fmla="*/ 1417089 w 1428574"/>
              <a:gd name="connsiteY7" fmla="*/ 674932 h 827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28574" h="827332">
                <a:moveTo>
                  <a:pt x="1417089" y="674932"/>
                </a:moveTo>
                <a:cubicBezTo>
                  <a:pt x="1435346" y="448714"/>
                  <a:pt x="1429789" y="289169"/>
                  <a:pt x="1414708" y="103432"/>
                </a:cubicBezTo>
                <a:cubicBezTo>
                  <a:pt x="1129752" y="1038"/>
                  <a:pt x="880514" y="-34681"/>
                  <a:pt x="559839" y="39138"/>
                </a:cubicBezTo>
                <a:cubicBezTo>
                  <a:pt x="324968" y="93205"/>
                  <a:pt x="103590" y="255487"/>
                  <a:pt x="26439" y="508244"/>
                </a:cubicBezTo>
                <a:cubicBezTo>
                  <a:pt x="-7732" y="620193"/>
                  <a:pt x="-4518" y="728112"/>
                  <a:pt x="12152" y="827332"/>
                </a:cubicBezTo>
                <a:cubicBezTo>
                  <a:pt x="28424" y="650723"/>
                  <a:pt x="130471" y="560134"/>
                  <a:pt x="295520" y="477288"/>
                </a:cubicBezTo>
                <a:cubicBezTo>
                  <a:pt x="460084" y="394686"/>
                  <a:pt x="654458" y="387116"/>
                  <a:pt x="833683" y="410613"/>
                </a:cubicBezTo>
                <a:cubicBezTo>
                  <a:pt x="1142452" y="451094"/>
                  <a:pt x="1298820" y="584445"/>
                  <a:pt x="1417089" y="674932"/>
                </a:cubicBezTo>
                <a:close/>
              </a:path>
            </a:pathLst>
          </a:custGeom>
          <a:solidFill>
            <a:srgbClr val="0F238C"/>
          </a:solidFill>
          <a:ln w="127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noProof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33292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SML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8305800" y="133350"/>
            <a:ext cx="762000" cy="30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731520" y="347472"/>
            <a:ext cx="7365588" cy="55702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ext title, Arial </a:t>
            </a:r>
            <a:r>
              <a:rPr lang="en-US" dirty="0" err="1"/>
              <a:t>24pt</a:t>
            </a:r>
            <a:r>
              <a:rPr lang="en-US" dirty="0"/>
              <a:t> dark gray</a:t>
            </a:r>
            <a:br>
              <a:rPr lang="en-US" dirty="0"/>
            </a:br>
            <a:endParaRPr lang="en-US" dirty="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152" r="9151"/>
          <a:stretch/>
        </p:blipFill>
        <p:spPr>
          <a:xfrm>
            <a:off x="8097108" y="0"/>
            <a:ext cx="155122" cy="5143500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097280" y="1069848"/>
            <a:ext cx="6999828" cy="3711702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tx2"/>
                </a:solidFill>
              </a:defRPr>
            </a:lvl1pPr>
            <a:lvl2pPr marL="403225" indent="-173038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tabLst/>
              <a:defRPr sz="1600">
                <a:solidFill>
                  <a:schemeClr val="tx2"/>
                </a:solidFill>
              </a:defRPr>
            </a:lvl2pPr>
            <a:lvl3pPr marL="741363" indent="-173038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en-US" dirty="0"/>
              <a:t>Text, Arial </a:t>
            </a:r>
            <a:r>
              <a:rPr lang="en-US" dirty="0" err="1"/>
              <a:t>18pt</a:t>
            </a:r>
            <a:r>
              <a:rPr lang="en-US" dirty="0"/>
              <a:t> middle blue</a:t>
            </a:r>
          </a:p>
          <a:p>
            <a:pPr lvl="1"/>
            <a:r>
              <a:rPr lang="en-US" dirty="0"/>
              <a:t>Second level, </a:t>
            </a:r>
            <a:r>
              <a:rPr lang="en-US" dirty="0" err="1"/>
              <a:t>16pt</a:t>
            </a:r>
            <a:r>
              <a:rPr lang="en-US" dirty="0"/>
              <a:t> middle blue</a:t>
            </a:r>
          </a:p>
          <a:p>
            <a:pPr lvl="2"/>
            <a:r>
              <a:rPr lang="en-US" dirty="0"/>
              <a:t>Third level, </a:t>
            </a:r>
            <a:r>
              <a:rPr lang="en-US" dirty="0" err="1"/>
              <a:t>14pt</a:t>
            </a:r>
            <a:r>
              <a:rPr lang="en-US" dirty="0"/>
              <a:t> middle blue</a:t>
            </a:r>
          </a:p>
        </p:txBody>
      </p:sp>
      <p:sp>
        <p:nvSpPr>
          <p:cNvPr id="31" name="Freeform 30"/>
          <p:cNvSpPr/>
          <p:nvPr userDrawn="1"/>
        </p:nvSpPr>
        <p:spPr>
          <a:xfrm>
            <a:off x="8320087" y="164783"/>
            <a:ext cx="170905" cy="182992"/>
          </a:xfrm>
          <a:custGeom>
            <a:avLst/>
            <a:gdLst>
              <a:gd name="connsiteX0" fmla="*/ 0 w 1097756"/>
              <a:gd name="connsiteY0" fmla="*/ 0 h 1181100"/>
              <a:gd name="connsiteX1" fmla="*/ 745331 w 1097756"/>
              <a:gd name="connsiteY1" fmla="*/ 0 h 1181100"/>
              <a:gd name="connsiteX2" fmla="*/ 1097756 w 1097756"/>
              <a:gd name="connsiteY2" fmla="*/ 1178718 h 1181100"/>
              <a:gd name="connsiteX3" fmla="*/ 523875 w 1097756"/>
              <a:gd name="connsiteY3" fmla="*/ 1181100 h 1181100"/>
              <a:gd name="connsiteX4" fmla="*/ 0 w 1097756"/>
              <a:gd name="connsiteY4" fmla="*/ 0 h 1181100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523875 w 1400175"/>
              <a:gd name="connsiteY3" fmla="*/ 1181100 h 2197893"/>
              <a:gd name="connsiteX4" fmla="*/ 0 w 1400175"/>
              <a:gd name="connsiteY4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1047750 w 1400175"/>
              <a:gd name="connsiteY3" fmla="*/ 1790700 h 2197893"/>
              <a:gd name="connsiteX4" fmla="*/ 523875 w 1400175"/>
              <a:gd name="connsiteY4" fmla="*/ 1181100 h 2197893"/>
              <a:gd name="connsiteX5" fmla="*/ 0 w 1400175"/>
              <a:gd name="connsiteY5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50094 w 1400175"/>
              <a:gd name="connsiteY3" fmla="*/ 2193131 h 2197893"/>
              <a:gd name="connsiteX4" fmla="*/ 523875 w 1400175"/>
              <a:gd name="connsiteY4" fmla="*/ 1181100 h 2197893"/>
              <a:gd name="connsiteX5" fmla="*/ 0 w 1400175"/>
              <a:gd name="connsiteY5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523875 w 1400175"/>
              <a:gd name="connsiteY4" fmla="*/ 1181100 h 2197893"/>
              <a:gd name="connsiteX5" fmla="*/ 0 w 1400175"/>
              <a:gd name="connsiteY5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0 w 1400175"/>
              <a:gd name="connsiteY5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230981 w 1400175"/>
              <a:gd name="connsiteY5" fmla="*/ 295275 h 2197893"/>
              <a:gd name="connsiteX6" fmla="*/ 0 w 1400175"/>
              <a:gd name="connsiteY6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95262 w 1400175"/>
              <a:gd name="connsiteY5" fmla="*/ 1204913 h 2197893"/>
              <a:gd name="connsiteX6" fmla="*/ 0 w 1400175"/>
              <a:gd name="connsiteY6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0 w 1400175"/>
              <a:gd name="connsiteY6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135731 w 1400175"/>
              <a:gd name="connsiteY6" fmla="*/ 1102518 h 2197893"/>
              <a:gd name="connsiteX7" fmla="*/ 0 w 1400175"/>
              <a:gd name="connsiteY7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0 w 1400175"/>
              <a:gd name="connsiteY7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378619 w 1400175"/>
              <a:gd name="connsiteY7" fmla="*/ 862012 h 2197893"/>
              <a:gd name="connsiteX8" fmla="*/ 0 w 1400175"/>
              <a:gd name="connsiteY8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0 w 1400175"/>
              <a:gd name="connsiteY8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426244 w 1400175"/>
              <a:gd name="connsiteY8" fmla="*/ 1112043 h 2197893"/>
              <a:gd name="connsiteX9" fmla="*/ 0 w 1400175"/>
              <a:gd name="connsiteY9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88106 w 1400175"/>
              <a:gd name="connsiteY8" fmla="*/ 1795462 h 2197893"/>
              <a:gd name="connsiteX9" fmla="*/ 0 w 1400175"/>
              <a:gd name="connsiteY9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88106 w 1400175"/>
              <a:gd name="connsiteY8" fmla="*/ 1795462 h 2197893"/>
              <a:gd name="connsiteX9" fmla="*/ 52388 w 1400175"/>
              <a:gd name="connsiteY9" fmla="*/ 1131093 h 2197893"/>
              <a:gd name="connsiteX10" fmla="*/ 0 w 1400175"/>
              <a:gd name="connsiteY10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88106 w 1400175"/>
              <a:gd name="connsiteY8" fmla="*/ 1795462 h 2197893"/>
              <a:gd name="connsiteX9" fmla="*/ 0 w 1400175"/>
              <a:gd name="connsiteY9" fmla="*/ 2197893 h 2197893"/>
              <a:gd name="connsiteX10" fmla="*/ 0 w 1400175"/>
              <a:gd name="connsiteY10" fmla="*/ 0 h 2197893"/>
              <a:gd name="connsiteX0" fmla="*/ 4762 w 1404937"/>
              <a:gd name="connsiteY0" fmla="*/ 0 h 2197893"/>
              <a:gd name="connsiteX1" fmla="*/ 750093 w 1404937"/>
              <a:gd name="connsiteY1" fmla="*/ 0 h 2197893"/>
              <a:gd name="connsiteX2" fmla="*/ 1404937 w 1404937"/>
              <a:gd name="connsiteY2" fmla="*/ 2197893 h 2197893"/>
              <a:gd name="connsiteX3" fmla="*/ 752475 w 1404937"/>
              <a:gd name="connsiteY3" fmla="*/ 2195512 h 2197893"/>
              <a:gd name="connsiteX4" fmla="*/ 376237 w 1404937"/>
              <a:gd name="connsiteY4" fmla="*/ 478631 h 2197893"/>
              <a:gd name="connsiteX5" fmla="*/ 178592 w 1404937"/>
              <a:gd name="connsiteY5" fmla="*/ 1383507 h 2197893"/>
              <a:gd name="connsiteX6" fmla="*/ 614362 w 1404937"/>
              <a:gd name="connsiteY6" fmla="*/ 1385887 h 2197893"/>
              <a:gd name="connsiteX7" fmla="*/ 697706 w 1404937"/>
              <a:gd name="connsiteY7" fmla="*/ 1797843 h 2197893"/>
              <a:gd name="connsiteX8" fmla="*/ 92868 w 1404937"/>
              <a:gd name="connsiteY8" fmla="*/ 1795462 h 2197893"/>
              <a:gd name="connsiteX9" fmla="*/ 4762 w 1404937"/>
              <a:gd name="connsiteY9" fmla="*/ 2197893 h 2197893"/>
              <a:gd name="connsiteX10" fmla="*/ 0 w 1404937"/>
              <a:gd name="connsiteY10" fmla="*/ 2045493 h 2197893"/>
              <a:gd name="connsiteX11" fmla="*/ 4762 w 1404937"/>
              <a:gd name="connsiteY11" fmla="*/ 0 h 2197893"/>
              <a:gd name="connsiteX0" fmla="*/ 652462 w 2052637"/>
              <a:gd name="connsiteY0" fmla="*/ 0 h 2197893"/>
              <a:gd name="connsiteX1" fmla="*/ 1397793 w 2052637"/>
              <a:gd name="connsiteY1" fmla="*/ 0 h 2197893"/>
              <a:gd name="connsiteX2" fmla="*/ 2052637 w 2052637"/>
              <a:gd name="connsiteY2" fmla="*/ 2197893 h 2197893"/>
              <a:gd name="connsiteX3" fmla="*/ 1400175 w 2052637"/>
              <a:gd name="connsiteY3" fmla="*/ 2195512 h 2197893"/>
              <a:gd name="connsiteX4" fmla="*/ 1023937 w 2052637"/>
              <a:gd name="connsiteY4" fmla="*/ 478631 h 2197893"/>
              <a:gd name="connsiteX5" fmla="*/ 826292 w 2052637"/>
              <a:gd name="connsiteY5" fmla="*/ 1383507 h 2197893"/>
              <a:gd name="connsiteX6" fmla="*/ 1262062 w 2052637"/>
              <a:gd name="connsiteY6" fmla="*/ 1385887 h 2197893"/>
              <a:gd name="connsiteX7" fmla="*/ 1345406 w 2052637"/>
              <a:gd name="connsiteY7" fmla="*/ 1797843 h 2197893"/>
              <a:gd name="connsiteX8" fmla="*/ 740568 w 2052637"/>
              <a:gd name="connsiteY8" fmla="*/ 1795462 h 2197893"/>
              <a:gd name="connsiteX9" fmla="*/ 652462 w 2052637"/>
              <a:gd name="connsiteY9" fmla="*/ 2197893 h 2197893"/>
              <a:gd name="connsiteX10" fmla="*/ 0 w 2052637"/>
              <a:gd name="connsiteY10" fmla="*/ 2193131 h 2197893"/>
              <a:gd name="connsiteX11" fmla="*/ 652462 w 2052637"/>
              <a:gd name="connsiteY11" fmla="*/ 0 h 2197893"/>
              <a:gd name="connsiteX0" fmla="*/ 652462 w 2052637"/>
              <a:gd name="connsiteY0" fmla="*/ 1 h 2197894"/>
              <a:gd name="connsiteX1" fmla="*/ 1397793 w 2052637"/>
              <a:gd name="connsiteY1" fmla="*/ 1 h 2197894"/>
              <a:gd name="connsiteX2" fmla="*/ 2052637 w 2052637"/>
              <a:gd name="connsiteY2" fmla="*/ 2197894 h 2197894"/>
              <a:gd name="connsiteX3" fmla="*/ 1400175 w 2052637"/>
              <a:gd name="connsiteY3" fmla="*/ 2195513 h 2197894"/>
              <a:gd name="connsiteX4" fmla="*/ 1023937 w 2052637"/>
              <a:gd name="connsiteY4" fmla="*/ 478632 h 2197894"/>
              <a:gd name="connsiteX5" fmla="*/ 826292 w 2052637"/>
              <a:gd name="connsiteY5" fmla="*/ 1383508 h 2197894"/>
              <a:gd name="connsiteX6" fmla="*/ 1262062 w 2052637"/>
              <a:gd name="connsiteY6" fmla="*/ 1385888 h 2197894"/>
              <a:gd name="connsiteX7" fmla="*/ 1345406 w 2052637"/>
              <a:gd name="connsiteY7" fmla="*/ 1797844 h 2197894"/>
              <a:gd name="connsiteX8" fmla="*/ 740568 w 2052637"/>
              <a:gd name="connsiteY8" fmla="*/ 1795463 h 2197894"/>
              <a:gd name="connsiteX9" fmla="*/ 652462 w 2052637"/>
              <a:gd name="connsiteY9" fmla="*/ 2197894 h 2197894"/>
              <a:gd name="connsiteX10" fmla="*/ 0 w 2052637"/>
              <a:gd name="connsiteY10" fmla="*/ 2193132 h 2197894"/>
              <a:gd name="connsiteX11" fmla="*/ 652462 w 2052637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62133 w 2052708"/>
              <a:gd name="connsiteY6" fmla="*/ 1385888 h 2197894"/>
              <a:gd name="connsiteX7" fmla="*/ 1345477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14508 w 2052708"/>
              <a:gd name="connsiteY6" fmla="*/ 1383506 h 2197894"/>
              <a:gd name="connsiteX7" fmla="*/ 1345477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14508 w 2052708"/>
              <a:gd name="connsiteY6" fmla="*/ 1383506 h 2197894"/>
              <a:gd name="connsiteX7" fmla="*/ 1312139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19271 w 2052708"/>
              <a:gd name="connsiteY6" fmla="*/ 1376363 h 2197894"/>
              <a:gd name="connsiteX7" fmla="*/ 1312139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21653 w 2052708"/>
              <a:gd name="connsiteY6" fmla="*/ 1383507 h 2197894"/>
              <a:gd name="connsiteX7" fmla="*/ 1312139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21653 w 2052708"/>
              <a:gd name="connsiteY6" fmla="*/ 1383507 h 2197894"/>
              <a:gd name="connsiteX7" fmla="*/ 1312139 w 2052708"/>
              <a:gd name="connsiteY7" fmla="*/ 1795463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052708" h="2197894">
                <a:moveTo>
                  <a:pt x="652533" y="1"/>
                </a:moveTo>
                <a:lnTo>
                  <a:pt x="1397864" y="1"/>
                </a:lnTo>
                <a:lnTo>
                  <a:pt x="2052708" y="2197894"/>
                </a:lnTo>
                <a:lnTo>
                  <a:pt x="1400246" y="2195513"/>
                </a:lnTo>
                <a:lnTo>
                  <a:pt x="1024008" y="478632"/>
                </a:lnTo>
                <a:lnTo>
                  <a:pt x="826363" y="1383508"/>
                </a:lnTo>
                <a:lnTo>
                  <a:pt x="1221653" y="1383507"/>
                </a:lnTo>
                <a:lnTo>
                  <a:pt x="1312139" y="1795463"/>
                </a:lnTo>
                <a:lnTo>
                  <a:pt x="740639" y="1795463"/>
                </a:lnTo>
                <a:lnTo>
                  <a:pt x="652533" y="2197894"/>
                </a:lnTo>
                <a:lnTo>
                  <a:pt x="71" y="2193132"/>
                </a:lnTo>
                <a:cubicBezTo>
                  <a:pt x="-7867" y="2197101"/>
                  <a:pt x="648565" y="-1587"/>
                  <a:pt x="652533" y="1"/>
                </a:cubicBezTo>
                <a:close/>
              </a:path>
            </a:pathLst>
          </a:custGeom>
          <a:solidFill>
            <a:srgbClr val="0F238D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sp>
        <p:nvSpPr>
          <p:cNvPr id="32" name="Freeform 31"/>
          <p:cNvSpPr/>
          <p:nvPr userDrawn="1"/>
        </p:nvSpPr>
        <p:spPr>
          <a:xfrm>
            <a:off x="8653685" y="164584"/>
            <a:ext cx="208171" cy="182993"/>
          </a:xfrm>
          <a:custGeom>
            <a:avLst/>
            <a:gdLst>
              <a:gd name="connsiteX0" fmla="*/ 0 w 688182"/>
              <a:gd name="connsiteY0" fmla="*/ 950119 h 950119"/>
              <a:gd name="connsiteX1" fmla="*/ 611982 w 688182"/>
              <a:gd name="connsiteY1" fmla="*/ 950119 h 950119"/>
              <a:gd name="connsiteX2" fmla="*/ 688182 w 688182"/>
              <a:gd name="connsiteY2" fmla="*/ 0 h 950119"/>
              <a:gd name="connsiteX3" fmla="*/ 0 w 688182"/>
              <a:gd name="connsiteY3" fmla="*/ 950119 h 950119"/>
              <a:gd name="connsiteX0" fmla="*/ 0 w 688182"/>
              <a:gd name="connsiteY0" fmla="*/ 950119 h 950119"/>
              <a:gd name="connsiteX1" fmla="*/ 611982 w 688182"/>
              <a:gd name="connsiteY1" fmla="*/ 950119 h 950119"/>
              <a:gd name="connsiteX2" fmla="*/ 688182 w 688182"/>
              <a:gd name="connsiteY2" fmla="*/ 0 h 950119"/>
              <a:gd name="connsiteX3" fmla="*/ 214313 w 688182"/>
              <a:gd name="connsiteY3" fmla="*/ 652463 h 950119"/>
              <a:gd name="connsiteX4" fmla="*/ 0 w 688182"/>
              <a:gd name="connsiteY4" fmla="*/ 950119 h 950119"/>
              <a:gd name="connsiteX0" fmla="*/ 0 w 688182"/>
              <a:gd name="connsiteY0" fmla="*/ 950119 h 950119"/>
              <a:gd name="connsiteX1" fmla="*/ 611982 w 688182"/>
              <a:gd name="connsiteY1" fmla="*/ 950119 h 950119"/>
              <a:gd name="connsiteX2" fmla="*/ 688182 w 688182"/>
              <a:gd name="connsiteY2" fmla="*/ 0 h 950119"/>
              <a:gd name="connsiteX3" fmla="*/ 111919 w 688182"/>
              <a:gd name="connsiteY3" fmla="*/ 95250 h 950119"/>
              <a:gd name="connsiteX4" fmla="*/ 0 w 688182"/>
              <a:gd name="connsiteY4" fmla="*/ 950119 h 950119"/>
              <a:gd name="connsiteX0" fmla="*/ 0 w 723900"/>
              <a:gd name="connsiteY0" fmla="*/ 1395413 h 1395413"/>
              <a:gd name="connsiteX1" fmla="*/ 611982 w 723900"/>
              <a:gd name="connsiteY1" fmla="*/ 1395413 h 1395413"/>
              <a:gd name="connsiteX2" fmla="*/ 723900 w 723900"/>
              <a:gd name="connsiteY2" fmla="*/ 0 h 1395413"/>
              <a:gd name="connsiteX3" fmla="*/ 111919 w 723900"/>
              <a:gd name="connsiteY3" fmla="*/ 540544 h 1395413"/>
              <a:gd name="connsiteX4" fmla="*/ 0 w 723900"/>
              <a:gd name="connsiteY4" fmla="*/ 1395413 h 1395413"/>
              <a:gd name="connsiteX0" fmla="*/ 0 w 723900"/>
              <a:gd name="connsiteY0" fmla="*/ 2031206 h 2031206"/>
              <a:gd name="connsiteX1" fmla="*/ 611982 w 723900"/>
              <a:gd name="connsiteY1" fmla="*/ 2031206 h 2031206"/>
              <a:gd name="connsiteX2" fmla="*/ 723900 w 723900"/>
              <a:gd name="connsiteY2" fmla="*/ 635793 h 2031206"/>
              <a:gd name="connsiteX3" fmla="*/ 266700 w 723900"/>
              <a:gd name="connsiteY3" fmla="*/ 0 h 2031206"/>
              <a:gd name="connsiteX4" fmla="*/ 0 w 723900"/>
              <a:gd name="connsiteY4" fmla="*/ 2031206 h 2031206"/>
              <a:gd name="connsiteX0" fmla="*/ 0 w 723900"/>
              <a:gd name="connsiteY0" fmla="*/ 2195513 h 2195513"/>
              <a:gd name="connsiteX1" fmla="*/ 611982 w 723900"/>
              <a:gd name="connsiteY1" fmla="*/ 2195513 h 2195513"/>
              <a:gd name="connsiteX2" fmla="*/ 723900 w 723900"/>
              <a:gd name="connsiteY2" fmla="*/ 800100 h 2195513"/>
              <a:gd name="connsiteX3" fmla="*/ 283369 w 723900"/>
              <a:gd name="connsiteY3" fmla="*/ 0 h 2195513"/>
              <a:gd name="connsiteX4" fmla="*/ 0 w 723900"/>
              <a:gd name="connsiteY4" fmla="*/ 2195513 h 2195513"/>
              <a:gd name="connsiteX0" fmla="*/ 0 w 723900"/>
              <a:gd name="connsiteY0" fmla="*/ 2195513 h 2195513"/>
              <a:gd name="connsiteX1" fmla="*/ 611982 w 723900"/>
              <a:gd name="connsiteY1" fmla="*/ 2195513 h 2195513"/>
              <a:gd name="connsiteX2" fmla="*/ 723900 w 723900"/>
              <a:gd name="connsiteY2" fmla="*/ 800100 h 2195513"/>
              <a:gd name="connsiteX3" fmla="*/ 500063 w 723900"/>
              <a:gd name="connsiteY3" fmla="*/ 388145 h 2195513"/>
              <a:gd name="connsiteX4" fmla="*/ 283369 w 723900"/>
              <a:gd name="connsiteY4" fmla="*/ 0 h 2195513"/>
              <a:gd name="connsiteX5" fmla="*/ 0 w 723900"/>
              <a:gd name="connsiteY5" fmla="*/ 2195513 h 2195513"/>
              <a:gd name="connsiteX0" fmla="*/ 0 w 945356"/>
              <a:gd name="connsiteY0" fmla="*/ 2195513 h 2195513"/>
              <a:gd name="connsiteX1" fmla="*/ 611982 w 945356"/>
              <a:gd name="connsiteY1" fmla="*/ 2195513 h 2195513"/>
              <a:gd name="connsiteX2" fmla="*/ 723900 w 945356"/>
              <a:gd name="connsiteY2" fmla="*/ 800100 h 2195513"/>
              <a:gd name="connsiteX3" fmla="*/ 945356 w 945356"/>
              <a:gd name="connsiteY3" fmla="*/ 2382 h 2195513"/>
              <a:gd name="connsiteX4" fmla="*/ 283369 w 945356"/>
              <a:gd name="connsiteY4" fmla="*/ 0 h 2195513"/>
              <a:gd name="connsiteX5" fmla="*/ 0 w 945356"/>
              <a:gd name="connsiteY5" fmla="*/ 2195513 h 2195513"/>
              <a:gd name="connsiteX0" fmla="*/ 0 w 945356"/>
              <a:gd name="connsiteY0" fmla="*/ 2195513 h 2195513"/>
              <a:gd name="connsiteX1" fmla="*/ 611982 w 945356"/>
              <a:gd name="connsiteY1" fmla="*/ 2195513 h 2195513"/>
              <a:gd name="connsiteX2" fmla="*/ 723900 w 945356"/>
              <a:gd name="connsiteY2" fmla="*/ 800100 h 2195513"/>
              <a:gd name="connsiteX3" fmla="*/ 790575 w 945356"/>
              <a:gd name="connsiteY3" fmla="*/ 545308 h 2195513"/>
              <a:gd name="connsiteX4" fmla="*/ 945356 w 945356"/>
              <a:gd name="connsiteY4" fmla="*/ 2382 h 2195513"/>
              <a:gd name="connsiteX5" fmla="*/ 283369 w 945356"/>
              <a:gd name="connsiteY5" fmla="*/ 0 h 2195513"/>
              <a:gd name="connsiteX6" fmla="*/ 0 w 945356"/>
              <a:gd name="connsiteY6" fmla="*/ 2195513 h 2195513"/>
              <a:gd name="connsiteX0" fmla="*/ 0 w 1252537"/>
              <a:gd name="connsiteY0" fmla="*/ 2195513 h 2195513"/>
              <a:gd name="connsiteX1" fmla="*/ 611982 w 1252537"/>
              <a:gd name="connsiteY1" fmla="*/ 2195513 h 2195513"/>
              <a:gd name="connsiteX2" fmla="*/ 723900 w 1252537"/>
              <a:gd name="connsiteY2" fmla="*/ 800100 h 2195513"/>
              <a:gd name="connsiteX3" fmla="*/ 1252537 w 1252537"/>
              <a:gd name="connsiteY3" fmla="*/ 1333501 h 2195513"/>
              <a:gd name="connsiteX4" fmla="*/ 945356 w 1252537"/>
              <a:gd name="connsiteY4" fmla="*/ 2382 h 2195513"/>
              <a:gd name="connsiteX5" fmla="*/ 283369 w 1252537"/>
              <a:gd name="connsiteY5" fmla="*/ 0 h 2195513"/>
              <a:gd name="connsiteX6" fmla="*/ 0 w 1252537"/>
              <a:gd name="connsiteY6" fmla="*/ 2195513 h 2195513"/>
              <a:gd name="connsiteX0" fmla="*/ 0 w 1252537"/>
              <a:gd name="connsiteY0" fmla="*/ 2195513 h 2195513"/>
              <a:gd name="connsiteX1" fmla="*/ 611982 w 1252537"/>
              <a:gd name="connsiteY1" fmla="*/ 2195513 h 2195513"/>
              <a:gd name="connsiteX2" fmla="*/ 723900 w 1252537"/>
              <a:gd name="connsiteY2" fmla="*/ 800100 h 2195513"/>
              <a:gd name="connsiteX3" fmla="*/ 1031082 w 1252537"/>
              <a:gd name="connsiteY3" fmla="*/ 1112045 h 2195513"/>
              <a:gd name="connsiteX4" fmla="*/ 1252537 w 1252537"/>
              <a:gd name="connsiteY4" fmla="*/ 1333501 h 2195513"/>
              <a:gd name="connsiteX5" fmla="*/ 945356 w 1252537"/>
              <a:gd name="connsiteY5" fmla="*/ 2382 h 2195513"/>
              <a:gd name="connsiteX6" fmla="*/ 283369 w 1252537"/>
              <a:gd name="connsiteY6" fmla="*/ 0 h 2195513"/>
              <a:gd name="connsiteX7" fmla="*/ 0 w 1252537"/>
              <a:gd name="connsiteY7" fmla="*/ 2195513 h 2195513"/>
              <a:gd name="connsiteX0" fmla="*/ 0 w 1252537"/>
              <a:gd name="connsiteY0" fmla="*/ 2195513 h 2195513"/>
              <a:gd name="connsiteX1" fmla="*/ 611982 w 1252537"/>
              <a:gd name="connsiteY1" fmla="*/ 2195513 h 2195513"/>
              <a:gd name="connsiteX2" fmla="*/ 723900 w 1252537"/>
              <a:gd name="connsiteY2" fmla="*/ 800100 h 2195513"/>
              <a:gd name="connsiteX3" fmla="*/ 1007270 w 1252537"/>
              <a:gd name="connsiteY3" fmla="*/ 2193132 h 2195513"/>
              <a:gd name="connsiteX4" fmla="*/ 1252537 w 1252537"/>
              <a:gd name="connsiteY4" fmla="*/ 1333501 h 2195513"/>
              <a:gd name="connsiteX5" fmla="*/ 945356 w 1252537"/>
              <a:gd name="connsiteY5" fmla="*/ 2382 h 2195513"/>
              <a:gd name="connsiteX6" fmla="*/ 283369 w 1252537"/>
              <a:gd name="connsiteY6" fmla="*/ 0 h 2195513"/>
              <a:gd name="connsiteX7" fmla="*/ 0 w 1252537"/>
              <a:gd name="connsiteY7" fmla="*/ 2195513 h 2195513"/>
              <a:gd name="connsiteX0" fmla="*/ 0 w 1252537"/>
              <a:gd name="connsiteY0" fmla="*/ 2195513 h 2195513"/>
              <a:gd name="connsiteX1" fmla="*/ 611982 w 1252537"/>
              <a:gd name="connsiteY1" fmla="*/ 2195513 h 2195513"/>
              <a:gd name="connsiteX2" fmla="*/ 723900 w 1252537"/>
              <a:gd name="connsiteY2" fmla="*/ 800100 h 2195513"/>
              <a:gd name="connsiteX3" fmla="*/ 1007270 w 1252537"/>
              <a:gd name="connsiteY3" fmla="*/ 2193132 h 2195513"/>
              <a:gd name="connsiteX4" fmla="*/ 1173957 w 1252537"/>
              <a:gd name="connsiteY4" fmla="*/ 1600202 h 2195513"/>
              <a:gd name="connsiteX5" fmla="*/ 1252537 w 1252537"/>
              <a:gd name="connsiteY5" fmla="*/ 1333501 h 2195513"/>
              <a:gd name="connsiteX6" fmla="*/ 945356 w 1252537"/>
              <a:gd name="connsiteY6" fmla="*/ 2382 h 2195513"/>
              <a:gd name="connsiteX7" fmla="*/ 283369 w 1252537"/>
              <a:gd name="connsiteY7" fmla="*/ 0 h 2195513"/>
              <a:gd name="connsiteX8" fmla="*/ 0 w 1252537"/>
              <a:gd name="connsiteY8" fmla="*/ 2195513 h 2195513"/>
              <a:gd name="connsiteX0" fmla="*/ 0 w 1488282"/>
              <a:gd name="connsiteY0" fmla="*/ 2195513 h 2195514"/>
              <a:gd name="connsiteX1" fmla="*/ 611982 w 1488282"/>
              <a:gd name="connsiteY1" fmla="*/ 2195513 h 2195514"/>
              <a:gd name="connsiteX2" fmla="*/ 723900 w 1488282"/>
              <a:gd name="connsiteY2" fmla="*/ 800100 h 2195514"/>
              <a:gd name="connsiteX3" fmla="*/ 1007270 w 1488282"/>
              <a:gd name="connsiteY3" fmla="*/ 2193132 h 2195514"/>
              <a:gd name="connsiteX4" fmla="*/ 1488282 w 1488282"/>
              <a:gd name="connsiteY4" fmla="*/ 2195514 h 2195514"/>
              <a:gd name="connsiteX5" fmla="*/ 1252537 w 1488282"/>
              <a:gd name="connsiteY5" fmla="*/ 1333501 h 2195514"/>
              <a:gd name="connsiteX6" fmla="*/ 945356 w 1488282"/>
              <a:gd name="connsiteY6" fmla="*/ 2382 h 2195514"/>
              <a:gd name="connsiteX7" fmla="*/ 283369 w 1488282"/>
              <a:gd name="connsiteY7" fmla="*/ 0 h 2195514"/>
              <a:gd name="connsiteX8" fmla="*/ 0 w 1488282"/>
              <a:gd name="connsiteY8" fmla="*/ 2195513 h 2195514"/>
              <a:gd name="connsiteX0" fmla="*/ 0 w 1488282"/>
              <a:gd name="connsiteY0" fmla="*/ 2195513 h 2195514"/>
              <a:gd name="connsiteX1" fmla="*/ 611982 w 1488282"/>
              <a:gd name="connsiteY1" fmla="*/ 2195513 h 2195514"/>
              <a:gd name="connsiteX2" fmla="*/ 723900 w 1488282"/>
              <a:gd name="connsiteY2" fmla="*/ 800100 h 2195514"/>
              <a:gd name="connsiteX3" fmla="*/ 1007270 w 1488282"/>
              <a:gd name="connsiteY3" fmla="*/ 2193132 h 2195514"/>
              <a:gd name="connsiteX4" fmla="*/ 1488282 w 1488282"/>
              <a:gd name="connsiteY4" fmla="*/ 2195514 h 2195514"/>
              <a:gd name="connsiteX5" fmla="*/ 1352549 w 1488282"/>
              <a:gd name="connsiteY5" fmla="*/ 1690688 h 2195514"/>
              <a:gd name="connsiteX6" fmla="*/ 1252537 w 1488282"/>
              <a:gd name="connsiteY6" fmla="*/ 1333501 h 2195514"/>
              <a:gd name="connsiteX7" fmla="*/ 945356 w 1488282"/>
              <a:gd name="connsiteY7" fmla="*/ 2382 h 2195514"/>
              <a:gd name="connsiteX8" fmla="*/ 283369 w 1488282"/>
              <a:gd name="connsiteY8" fmla="*/ 0 h 2195514"/>
              <a:gd name="connsiteX9" fmla="*/ 0 w 1488282"/>
              <a:gd name="connsiteY9" fmla="*/ 2195513 h 2195514"/>
              <a:gd name="connsiteX0" fmla="*/ 0 w 1781174"/>
              <a:gd name="connsiteY0" fmla="*/ 2195513 h 2195514"/>
              <a:gd name="connsiteX1" fmla="*/ 611982 w 1781174"/>
              <a:gd name="connsiteY1" fmla="*/ 2195513 h 2195514"/>
              <a:gd name="connsiteX2" fmla="*/ 723900 w 1781174"/>
              <a:gd name="connsiteY2" fmla="*/ 800100 h 2195514"/>
              <a:gd name="connsiteX3" fmla="*/ 1007270 w 1781174"/>
              <a:gd name="connsiteY3" fmla="*/ 2193132 h 2195514"/>
              <a:gd name="connsiteX4" fmla="*/ 1488282 w 1781174"/>
              <a:gd name="connsiteY4" fmla="*/ 2195514 h 2195514"/>
              <a:gd name="connsiteX5" fmla="*/ 1781174 w 1781174"/>
              <a:gd name="connsiteY5" fmla="*/ 792957 h 2195514"/>
              <a:gd name="connsiteX6" fmla="*/ 1252537 w 1781174"/>
              <a:gd name="connsiteY6" fmla="*/ 1333501 h 2195514"/>
              <a:gd name="connsiteX7" fmla="*/ 945356 w 1781174"/>
              <a:gd name="connsiteY7" fmla="*/ 2382 h 2195514"/>
              <a:gd name="connsiteX8" fmla="*/ 283369 w 1781174"/>
              <a:gd name="connsiteY8" fmla="*/ 0 h 2195514"/>
              <a:gd name="connsiteX9" fmla="*/ 0 w 1781174"/>
              <a:gd name="connsiteY9" fmla="*/ 2195513 h 2195514"/>
              <a:gd name="connsiteX0" fmla="*/ 0 w 1781174"/>
              <a:gd name="connsiteY0" fmla="*/ 2195513 h 2195514"/>
              <a:gd name="connsiteX1" fmla="*/ 611982 w 1781174"/>
              <a:gd name="connsiteY1" fmla="*/ 2195513 h 2195514"/>
              <a:gd name="connsiteX2" fmla="*/ 723900 w 1781174"/>
              <a:gd name="connsiteY2" fmla="*/ 800100 h 2195514"/>
              <a:gd name="connsiteX3" fmla="*/ 1007270 w 1781174"/>
              <a:gd name="connsiteY3" fmla="*/ 2193132 h 2195514"/>
              <a:gd name="connsiteX4" fmla="*/ 1488282 w 1781174"/>
              <a:gd name="connsiteY4" fmla="*/ 2195514 h 2195514"/>
              <a:gd name="connsiteX5" fmla="*/ 1781174 w 1781174"/>
              <a:gd name="connsiteY5" fmla="*/ 792957 h 2195514"/>
              <a:gd name="connsiteX6" fmla="*/ 1528762 w 1781174"/>
              <a:gd name="connsiteY6" fmla="*/ 1052513 h 2195514"/>
              <a:gd name="connsiteX7" fmla="*/ 1252537 w 1781174"/>
              <a:gd name="connsiteY7" fmla="*/ 1333501 h 2195514"/>
              <a:gd name="connsiteX8" fmla="*/ 945356 w 1781174"/>
              <a:gd name="connsiteY8" fmla="*/ 2382 h 2195514"/>
              <a:gd name="connsiteX9" fmla="*/ 283369 w 1781174"/>
              <a:gd name="connsiteY9" fmla="*/ 0 h 2195514"/>
              <a:gd name="connsiteX10" fmla="*/ 0 w 1781174"/>
              <a:gd name="connsiteY10" fmla="*/ 2195513 h 2195514"/>
              <a:gd name="connsiteX0" fmla="*/ 0 w 1781174"/>
              <a:gd name="connsiteY0" fmla="*/ 2197894 h 2197895"/>
              <a:gd name="connsiteX1" fmla="*/ 611982 w 1781174"/>
              <a:gd name="connsiteY1" fmla="*/ 2197894 h 2197895"/>
              <a:gd name="connsiteX2" fmla="*/ 723900 w 1781174"/>
              <a:gd name="connsiteY2" fmla="*/ 802481 h 2197895"/>
              <a:gd name="connsiteX3" fmla="*/ 1007270 w 1781174"/>
              <a:gd name="connsiteY3" fmla="*/ 2195513 h 2197895"/>
              <a:gd name="connsiteX4" fmla="*/ 1488282 w 1781174"/>
              <a:gd name="connsiteY4" fmla="*/ 2197895 h 2197895"/>
              <a:gd name="connsiteX5" fmla="*/ 1781174 w 1781174"/>
              <a:gd name="connsiteY5" fmla="*/ 795338 h 2197895"/>
              <a:gd name="connsiteX6" fmla="*/ 1559719 w 1781174"/>
              <a:gd name="connsiteY6" fmla="*/ 0 h 2197895"/>
              <a:gd name="connsiteX7" fmla="*/ 1252537 w 1781174"/>
              <a:gd name="connsiteY7" fmla="*/ 1335882 h 2197895"/>
              <a:gd name="connsiteX8" fmla="*/ 945356 w 1781174"/>
              <a:gd name="connsiteY8" fmla="*/ 4763 h 2197895"/>
              <a:gd name="connsiteX9" fmla="*/ 283369 w 1781174"/>
              <a:gd name="connsiteY9" fmla="*/ 2381 h 2197895"/>
              <a:gd name="connsiteX10" fmla="*/ 0 w 1781174"/>
              <a:gd name="connsiteY10" fmla="*/ 2197894 h 2197895"/>
              <a:gd name="connsiteX0" fmla="*/ 0 w 1781174"/>
              <a:gd name="connsiteY0" fmla="*/ 2197894 h 2197895"/>
              <a:gd name="connsiteX1" fmla="*/ 611982 w 1781174"/>
              <a:gd name="connsiteY1" fmla="*/ 2197894 h 2197895"/>
              <a:gd name="connsiteX2" fmla="*/ 723900 w 1781174"/>
              <a:gd name="connsiteY2" fmla="*/ 802481 h 2197895"/>
              <a:gd name="connsiteX3" fmla="*/ 1007270 w 1781174"/>
              <a:gd name="connsiteY3" fmla="*/ 2195513 h 2197895"/>
              <a:gd name="connsiteX4" fmla="*/ 1488282 w 1781174"/>
              <a:gd name="connsiteY4" fmla="*/ 2197895 h 2197895"/>
              <a:gd name="connsiteX5" fmla="*/ 1781174 w 1781174"/>
              <a:gd name="connsiteY5" fmla="*/ 795338 h 2197895"/>
              <a:gd name="connsiteX6" fmla="*/ 1688306 w 1781174"/>
              <a:gd name="connsiteY6" fmla="*/ 454820 h 2197895"/>
              <a:gd name="connsiteX7" fmla="*/ 1559719 w 1781174"/>
              <a:gd name="connsiteY7" fmla="*/ 0 h 2197895"/>
              <a:gd name="connsiteX8" fmla="*/ 1252537 w 1781174"/>
              <a:gd name="connsiteY8" fmla="*/ 1335882 h 2197895"/>
              <a:gd name="connsiteX9" fmla="*/ 945356 w 1781174"/>
              <a:gd name="connsiteY9" fmla="*/ 4763 h 2197895"/>
              <a:gd name="connsiteX10" fmla="*/ 283369 w 1781174"/>
              <a:gd name="connsiteY10" fmla="*/ 2381 h 2197895"/>
              <a:gd name="connsiteX11" fmla="*/ 0 w 1781174"/>
              <a:gd name="connsiteY11" fmla="*/ 2197894 h 2197895"/>
              <a:gd name="connsiteX0" fmla="*/ 0 w 2212181"/>
              <a:gd name="connsiteY0" fmla="*/ 2197894 h 2197895"/>
              <a:gd name="connsiteX1" fmla="*/ 611982 w 2212181"/>
              <a:gd name="connsiteY1" fmla="*/ 2197894 h 2197895"/>
              <a:gd name="connsiteX2" fmla="*/ 723900 w 2212181"/>
              <a:gd name="connsiteY2" fmla="*/ 802481 h 2197895"/>
              <a:gd name="connsiteX3" fmla="*/ 1007270 w 2212181"/>
              <a:gd name="connsiteY3" fmla="*/ 2195513 h 2197895"/>
              <a:gd name="connsiteX4" fmla="*/ 1488282 w 2212181"/>
              <a:gd name="connsiteY4" fmla="*/ 2197895 h 2197895"/>
              <a:gd name="connsiteX5" fmla="*/ 1781174 w 2212181"/>
              <a:gd name="connsiteY5" fmla="*/ 795338 h 2197895"/>
              <a:gd name="connsiteX6" fmla="*/ 2212181 w 2212181"/>
              <a:gd name="connsiteY6" fmla="*/ 7145 h 2197895"/>
              <a:gd name="connsiteX7" fmla="*/ 1559719 w 2212181"/>
              <a:gd name="connsiteY7" fmla="*/ 0 h 2197895"/>
              <a:gd name="connsiteX8" fmla="*/ 1252537 w 2212181"/>
              <a:gd name="connsiteY8" fmla="*/ 1335882 h 2197895"/>
              <a:gd name="connsiteX9" fmla="*/ 945356 w 2212181"/>
              <a:gd name="connsiteY9" fmla="*/ 4763 h 2197895"/>
              <a:gd name="connsiteX10" fmla="*/ 283369 w 2212181"/>
              <a:gd name="connsiteY10" fmla="*/ 2381 h 2197895"/>
              <a:gd name="connsiteX11" fmla="*/ 0 w 2212181"/>
              <a:gd name="connsiteY11" fmla="*/ 2197894 h 2197895"/>
              <a:gd name="connsiteX0" fmla="*/ 0 w 2212181"/>
              <a:gd name="connsiteY0" fmla="*/ 2197894 h 2197895"/>
              <a:gd name="connsiteX1" fmla="*/ 611982 w 2212181"/>
              <a:gd name="connsiteY1" fmla="*/ 2197894 h 2197895"/>
              <a:gd name="connsiteX2" fmla="*/ 723900 w 2212181"/>
              <a:gd name="connsiteY2" fmla="*/ 802481 h 2197895"/>
              <a:gd name="connsiteX3" fmla="*/ 1007270 w 2212181"/>
              <a:gd name="connsiteY3" fmla="*/ 2195513 h 2197895"/>
              <a:gd name="connsiteX4" fmla="*/ 1488282 w 2212181"/>
              <a:gd name="connsiteY4" fmla="*/ 2197895 h 2197895"/>
              <a:gd name="connsiteX5" fmla="*/ 1781174 w 2212181"/>
              <a:gd name="connsiteY5" fmla="*/ 795338 h 2197895"/>
              <a:gd name="connsiteX6" fmla="*/ 2035968 w 2212181"/>
              <a:gd name="connsiteY6" fmla="*/ 328614 h 2197895"/>
              <a:gd name="connsiteX7" fmla="*/ 2212181 w 2212181"/>
              <a:gd name="connsiteY7" fmla="*/ 7145 h 2197895"/>
              <a:gd name="connsiteX8" fmla="*/ 1559719 w 2212181"/>
              <a:gd name="connsiteY8" fmla="*/ 0 h 2197895"/>
              <a:gd name="connsiteX9" fmla="*/ 1252537 w 2212181"/>
              <a:gd name="connsiteY9" fmla="*/ 1335882 h 2197895"/>
              <a:gd name="connsiteX10" fmla="*/ 945356 w 2212181"/>
              <a:gd name="connsiteY10" fmla="*/ 4763 h 2197895"/>
              <a:gd name="connsiteX11" fmla="*/ 283369 w 2212181"/>
              <a:gd name="connsiteY11" fmla="*/ 2381 h 2197895"/>
              <a:gd name="connsiteX12" fmla="*/ 0 w 2212181"/>
              <a:gd name="connsiteY12" fmla="*/ 2197894 h 2197895"/>
              <a:gd name="connsiteX0" fmla="*/ 0 w 2500312"/>
              <a:gd name="connsiteY0" fmla="*/ 2197894 h 2197895"/>
              <a:gd name="connsiteX1" fmla="*/ 611982 w 2500312"/>
              <a:gd name="connsiteY1" fmla="*/ 2197894 h 2197895"/>
              <a:gd name="connsiteX2" fmla="*/ 723900 w 2500312"/>
              <a:gd name="connsiteY2" fmla="*/ 802481 h 2197895"/>
              <a:gd name="connsiteX3" fmla="*/ 1007270 w 2500312"/>
              <a:gd name="connsiteY3" fmla="*/ 2195513 h 2197895"/>
              <a:gd name="connsiteX4" fmla="*/ 1488282 w 2500312"/>
              <a:gd name="connsiteY4" fmla="*/ 2197895 h 2197895"/>
              <a:gd name="connsiteX5" fmla="*/ 1781174 w 2500312"/>
              <a:gd name="connsiteY5" fmla="*/ 795338 h 2197895"/>
              <a:gd name="connsiteX6" fmla="*/ 2500312 w 2500312"/>
              <a:gd name="connsiteY6" fmla="*/ 2197895 h 2197895"/>
              <a:gd name="connsiteX7" fmla="*/ 2212181 w 2500312"/>
              <a:gd name="connsiteY7" fmla="*/ 7145 h 2197895"/>
              <a:gd name="connsiteX8" fmla="*/ 1559719 w 2500312"/>
              <a:gd name="connsiteY8" fmla="*/ 0 h 2197895"/>
              <a:gd name="connsiteX9" fmla="*/ 1252537 w 2500312"/>
              <a:gd name="connsiteY9" fmla="*/ 1335882 h 2197895"/>
              <a:gd name="connsiteX10" fmla="*/ 945356 w 2500312"/>
              <a:gd name="connsiteY10" fmla="*/ 4763 h 2197895"/>
              <a:gd name="connsiteX11" fmla="*/ 283369 w 2500312"/>
              <a:gd name="connsiteY11" fmla="*/ 2381 h 2197895"/>
              <a:gd name="connsiteX12" fmla="*/ 0 w 2500312"/>
              <a:gd name="connsiteY12" fmla="*/ 2197894 h 2197895"/>
              <a:gd name="connsiteX0" fmla="*/ 0 w 2500312"/>
              <a:gd name="connsiteY0" fmla="*/ 2197894 h 2197895"/>
              <a:gd name="connsiteX1" fmla="*/ 611982 w 2500312"/>
              <a:gd name="connsiteY1" fmla="*/ 2197894 h 2197895"/>
              <a:gd name="connsiteX2" fmla="*/ 723900 w 2500312"/>
              <a:gd name="connsiteY2" fmla="*/ 802481 h 2197895"/>
              <a:gd name="connsiteX3" fmla="*/ 1007270 w 2500312"/>
              <a:gd name="connsiteY3" fmla="*/ 2195513 h 2197895"/>
              <a:gd name="connsiteX4" fmla="*/ 1488282 w 2500312"/>
              <a:gd name="connsiteY4" fmla="*/ 2197895 h 2197895"/>
              <a:gd name="connsiteX5" fmla="*/ 1781174 w 2500312"/>
              <a:gd name="connsiteY5" fmla="*/ 795338 h 2197895"/>
              <a:gd name="connsiteX6" fmla="*/ 2190748 w 2500312"/>
              <a:gd name="connsiteY6" fmla="*/ 1595439 h 2197895"/>
              <a:gd name="connsiteX7" fmla="*/ 2500312 w 2500312"/>
              <a:gd name="connsiteY7" fmla="*/ 2197895 h 2197895"/>
              <a:gd name="connsiteX8" fmla="*/ 2212181 w 2500312"/>
              <a:gd name="connsiteY8" fmla="*/ 7145 h 2197895"/>
              <a:gd name="connsiteX9" fmla="*/ 1559719 w 2500312"/>
              <a:gd name="connsiteY9" fmla="*/ 0 h 2197895"/>
              <a:gd name="connsiteX10" fmla="*/ 1252537 w 2500312"/>
              <a:gd name="connsiteY10" fmla="*/ 1335882 h 2197895"/>
              <a:gd name="connsiteX11" fmla="*/ 945356 w 2500312"/>
              <a:gd name="connsiteY11" fmla="*/ 4763 h 2197895"/>
              <a:gd name="connsiteX12" fmla="*/ 283369 w 2500312"/>
              <a:gd name="connsiteY12" fmla="*/ 2381 h 2197895"/>
              <a:gd name="connsiteX13" fmla="*/ 0 w 2500312"/>
              <a:gd name="connsiteY13" fmla="*/ 2197894 h 2197895"/>
              <a:gd name="connsiteX0" fmla="*/ 0 w 2500312"/>
              <a:gd name="connsiteY0" fmla="*/ 2197894 h 2197895"/>
              <a:gd name="connsiteX1" fmla="*/ 611982 w 2500312"/>
              <a:gd name="connsiteY1" fmla="*/ 2197894 h 2197895"/>
              <a:gd name="connsiteX2" fmla="*/ 723900 w 2500312"/>
              <a:gd name="connsiteY2" fmla="*/ 802481 h 2197895"/>
              <a:gd name="connsiteX3" fmla="*/ 1007270 w 2500312"/>
              <a:gd name="connsiteY3" fmla="*/ 2195513 h 2197895"/>
              <a:gd name="connsiteX4" fmla="*/ 1488282 w 2500312"/>
              <a:gd name="connsiteY4" fmla="*/ 2197895 h 2197895"/>
              <a:gd name="connsiteX5" fmla="*/ 1781174 w 2500312"/>
              <a:gd name="connsiteY5" fmla="*/ 795338 h 2197895"/>
              <a:gd name="connsiteX6" fmla="*/ 1883567 w 2500312"/>
              <a:gd name="connsiteY6" fmla="*/ 2195514 h 2197895"/>
              <a:gd name="connsiteX7" fmla="*/ 2500312 w 2500312"/>
              <a:gd name="connsiteY7" fmla="*/ 2197895 h 2197895"/>
              <a:gd name="connsiteX8" fmla="*/ 2212181 w 2500312"/>
              <a:gd name="connsiteY8" fmla="*/ 7145 h 2197895"/>
              <a:gd name="connsiteX9" fmla="*/ 1559719 w 2500312"/>
              <a:gd name="connsiteY9" fmla="*/ 0 h 2197895"/>
              <a:gd name="connsiteX10" fmla="*/ 1252537 w 2500312"/>
              <a:gd name="connsiteY10" fmla="*/ 1335882 h 2197895"/>
              <a:gd name="connsiteX11" fmla="*/ 945356 w 2500312"/>
              <a:gd name="connsiteY11" fmla="*/ 4763 h 2197895"/>
              <a:gd name="connsiteX12" fmla="*/ 283369 w 2500312"/>
              <a:gd name="connsiteY12" fmla="*/ 2381 h 2197895"/>
              <a:gd name="connsiteX13" fmla="*/ 0 w 2500312"/>
              <a:gd name="connsiteY13" fmla="*/ 2197894 h 2197895"/>
              <a:gd name="connsiteX0" fmla="*/ 0 w 2500312"/>
              <a:gd name="connsiteY0" fmla="*/ 2197894 h 2197895"/>
              <a:gd name="connsiteX1" fmla="*/ 611982 w 2500312"/>
              <a:gd name="connsiteY1" fmla="*/ 2197894 h 2197895"/>
              <a:gd name="connsiteX2" fmla="*/ 723900 w 2500312"/>
              <a:gd name="connsiteY2" fmla="*/ 802481 h 2197895"/>
              <a:gd name="connsiteX3" fmla="*/ 1007270 w 2500312"/>
              <a:gd name="connsiteY3" fmla="*/ 2195513 h 2197895"/>
              <a:gd name="connsiteX4" fmla="*/ 1488282 w 2500312"/>
              <a:gd name="connsiteY4" fmla="*/ 2197895 h 2197895"/>
              <a:gd name="connsiteX5" fmla="*/ 1776411 w 2500312"/>
              <a:gd name="connsiteY5" fmla="*/ 809626 h 2197895"/>
              <a:gd name="connsiteX6" fmla="*/ 1883567 w 2500312"/>
              <a:gd name="connsiteY6" fmla="*/ 2195514 h 2197895"/>
              <a:gd name="connsiteX7" fmla="*/ 2500312 w 2500312"/>
              <a:gd name="connsiteY7" fmla="*/ 2197895 h 2197895"/>
              <a:gd name="connsiteX8" fmla="*/ 2212181 w 2500312"/>
              <a:gd name="connsiteY8" fmla="*/ 7145 h 2197895"/>
              <a:gd name="connsiteX9" fmla="*/ 1559719 w 2500312"/>
              <a:gd name="connsiteY9" fmla="*/ 0 h 2197895"/>
              <a:gd name="connsiteX10" fmla="*/ 1252537 w 2500312"/>
              <a:gd name="connsiteY10" fmla="*/ 1335882 h 2197895"/>
              <a:gd name="connsiteX11" fmla="*/ 945356 w 2500312"/>
              <a:gd name="connsiteY11" fmla="*/ 4763 h 2197895"/>
              <a:gd name="connsiteX12" fmla="*/ 283369 w 2500312"/>
              <a:gd name="connsiteY12" fmla="*/ 2381 h 2197895"/>
              <a:gd name="connsiteX13" fmla="*/ 0 w 2500312"/>
              <a:gd name="connsiteY13" fmla="*/ 2197894 h 2197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500312" h="2197895">
                <a:moveTo>
                  <a:pt x="0" y="2197894"/>
                </a:moveTo>
                <a:lnTo>
                  <a:pt x="611982" y="2197894"/>
                </a:lnTo>
                <a:lnTo>
                  <a:pt x="723900" y="802481"/>
                </a:lnTo>
                <a:lnTo>
                  <a:pt x="1007270" y="2195513"/>
                </a:lnTo>
                <a:lnTo>
                  <a:pt x="1488282" y="2197895"/>
                </a:lnTo>
                <a:lnTo>
                  <a:pt x="1776411" y="809626"/>
                </a:lnTo>
                <a:lnTo>
                  <a:pt x="1883567" y="2195514"/>
                </a:lnTo>
                <a:lnTo>
                  <a:pt x="2500312" y="2197895"/>
                </a:lnTo>
                <a:lnTo>
                  <a:pt x="2212181" y="7145"/>
                </a:lnTo>
                <a:lnTo>
                  <a:pt x="1559719" y="0"/>
                </a:lnTo>
                <a:lnTo>
                  <a:pt x="1252537" y="1335882"/>
                </a:lnTo>
                <a:lnTo>
                  <a:pt x="945356" y="4763"/>
                </a:lnTo>
                <a:lnTo>
                  <a:pt x="283369" y="2381"/>
                </a:lnTo>
                <a:lnTo>
                  <a:pt x="0" y="2197894"/>
                </a:lnTo>
                <a:close/>
              </a:path>
            </a:pathLst>
          </a:custGeom>
          <a:solidFill>
            <a:srgbClr val="0F238D"/>
          </a:solidFill>
          <a:ln w="190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sp>
        <p:nvSpPr>
          <p:cNvPr id="33" name="Freeform 32"/>
          <p:cNvSpPr/>
          <p:nvPr userDrawn="1"/>
        </p:nvSpPr>
        <p:spPr>
          <a:xfrm>
            <a:off x="8887233" y="164981"/>
            <a:ext cx="116972" cy="182397"/>
          </a:xfrm>
          <a:custGeom>
            <a:avLst/>
            <a:gdLst>
              <a:gd name="connsiteX0" fmla="*/ 0 w 1428750"/>
              <a:gd name="connsiteY0" fmla="*/ 997744 h 997744"/>
              <a:gd name="connsiteX1" fmla="*/ 1404937 w 1428750"/>
              <a:gd name="connsiteY1" fmla="*/ 997744 h 997744"/>
              <a:gd name="connsiteX2" fmla="*/ 1404937 w 1428750"/>
              <a:gd name="connsiteY2" fmla="*/ 538163 h 997744"/>
              <a:gd name="connsiteX3" fmla="*/ 1428750 w 1428750"/>
              <a:gd name="connsiteY3" fmla="*/ 540544 h 997744"/>
              <a:gd name="connsiteX4" fmla="*/ 590550 w 1428750"/>
              <a:gd name="connsiteY4" fmla="*/ 540544 h 997744"/>
              <a:gd name="connsiteX5" fmla="*/ 590550 w 1428750"/>
              <a:gd name="connsiteY5" fmla="*/ 0 h 997744"/>
              <a:gd name="connsiteX6" fmla="*/ 0 w 1428750"/>
              <a:gd name="connsiteY6" fmla="*/ 0 h 997744"/>
              <a:gd name="connsiteX7" fmla="*/ 0 w 1428750"/>
              <a:gd name="connsiteY7" fmla="*/ 997744 h 997744"/>
              <a:gd name="connsiteX0" fmla="*/ 0 w 1404937"/>
              <a:gd name="connsiteY0" fmla="*/ 997744 h 997744"/>
              <a:gd name="connsiteX1" fmla="*/ 1404937 w 1404937"/>
              <a:gd name="connsiteY1" fmla="*/ 997744 h 997744"/>
              <a:gd name="connsiteX2" fmla="*/ 1404937 w 1404937"/>
              <a:gd name="connsiteY2" fmla="*/ 538163 h 997744"/>
              <a:gd name="connsiteX3" fmla="*/ 1219200 w 1404937"/>
              <a:gd name="connsiteY3" fmla="*/ 476250 h 997744"/>
              <a:gd name="connsiteX4" fmla="*/ 590550 w 1404937"/>
              <a:gd name="connsiteY4" fmla="*/ 540544 h 997744"/>
              <a:gd name="connsiteX5" fmla="*/ 590550 w 1404937"/>
              <a:gd name="connsiteY5" fmla="*/ 0 h 997744"/>
              <a:gd name="connsiteX6" fmla="*/ 0 w 1404937"/>
              <a:gd name="connsiteY6" fmla="*/ 0 h 997744"/>
              <a:gd name="connsiteX7" fmla="*/ 0 w 1404937"/>
              <a:gd name="connsiteY7" fmla="*/ 997744 h 997744"/>
              <a:gd name="connsiteX0" fmla="*/ 0 w 1404937"/>
              <a:gd name="connsiteY0" fmla="*/ 997744 h 997744"/>
              <a:gd name="connsiteX1" fmla="*/ 1404937 w 1404937"/>
              <a:gd name="connsiteY1" fmla="*/ 997744 h 997744"/>
              <a:gd name="connsiteX2" fmla="*/ 1404937 w 1404937"/>
              <a:gd name="connsiteY2" fmla="*/ 538163 h 997744"/>
              <a:gd name="connsiteX3" fmla="*/ 590550 w 1404937"/>
              <a:gd name="connsiteY3" fmla="*/ 540544 h 997744"/>
              <a:gd name="connsiteX4" fmla="*/ 590550 w 1404937"/>
              <a:gd name="connsiteY4" fmla="*/ 0 h 997744"/>
              <a:gd name="connsiteX5" fmla="*/ 0 w 1404937"/>
              <a:gd name="connsiteY5" fmla="*/ 0 h 997744"/>
              <a:gd name="connsiteX6" fmla="*/ 0 w 1404937"/>
              <a:gd name="connsiteY6" fmla="*/ 997744 h 997744"/>
              <a:gd name="connsiteX0" fmla="*/ 0 w 1404937"/>
              <a:gd name="connsiteY0" fmla="*/ 1614488 h 1614488"/>
              <a:gd name="connsiteX1" fmla="*/ 1404937 w 1404937"/>
              <a:gd name="connsiteY1" fmla="*/ 1614488 h 1614488"/>
              <a:gd name="connsiteX2" fmla="*/ 1404937 w 1404937"/>
              <a:gd name="connsiteY2" fmla="*/ 1154907 h 1614488"/>
              <a:gd name="connsiteX3" fmla="*/ 590550 w 1404937"/>
              <a:gd name="connsiteY3" fmla="*/ 1157288 h 1614488"/>
              <a:gd name="connsiteX4" fmla="*/ 592931 w 1404937"/>
              <a:gd name="connsiteY4" fmla="*/ 0 h 1614488"/>
              <a:gd name="connsiteX5" fmla="*/ 0 w 1404937"/>
              <a:gd name="connsiteY5" fmla="*/ 616744 h 1614488"/>
              <a:gd name="connsiteX6" fmla="*/ 0 w 1404937"/>
              <a:gd name="connsiteY6" fmla="*/ 1614488 h 1614488"/>
              <a:gd name="connsiteX0" fmla="*/ 0 w 1404937"/>
              <a:gd name="connsiteY0" fmla="*/ 2188369 h 2188369"/>
              <a:gd name="connsiteX1" fmla="*/ 1404937 w 1404937"/>
              <a:gd name="connsiteY1" fmla="*/ 2188369 h 2188369"/>
              <a:gd name="connsiteX2" fmla="*/ 1404937 w 1404937"/>
              <a:gd name="connsiteY2" fmla="*/ 1728788 h 2188369"/>
              <a:gd name="connsiteX3" fmla="*/ 590550 w 1404937"/>
              <a:gd name="connsiteY3" fmla="*/ 1731169 h 2188369"/>
              <a:gd name="connsiteX4" fmla="*/ 592931 w 1404937"/>
              <a:gd name="connsiteY4" fmla="*/ 573881 h 2188369"/>
              <a:gd name="connsiteX5" fmla="*/ 2382 w 1404937"/>
              <a:gd name="connsiteY5" fmla="*/ 0 h 2188369"/>
              <a:gd name="connsiteX6" fmla="*/ 0 w 1404937"/>
              <a:gd name="connsiteY6" fmla="*/ 2188369 h 2188369"/>
              <a:gd name="connsiteX0" fmla="*/ 0 w 1404937"/>
              <a:gd name="connsiteY0" fmla="*/ 2190750 h 2190750"/>
              <a:gd name="connsiteX1" fmla="*/ 1404937 w 1404937"/>
              <a:gd name="connsiteY1" fmla="*/ 2190750 h 2190750"/>
              <a:gd name="connsiteX2" fmla="*/ 1404937 w 1404937"/>
              <a:gd name="connsiteY2" fmla="*/ 1731169 h 2190750"/>
              <a:gd name="connsiteX3" fmla="*/ 590550 w 1404937"/>
              <a:gd name="connsiteY3" fmla="*/ 1733550 h 2190750"/>
              <a:gd name="connsiteX4" fmla="*/ 592931 w 1404937"/>
              <a:gd name="connsiteY4" fmla="*/ 0 h 2190750"/>
              <a:gd name="connsiteX5" fmla="*/ 2382 w 1404937"/>
              <a:gd name="connsiteY5" fmla="*/ 2381 h 2190750"/>
              <a:gd name="connsiteX6" fmla="*/ 0 w 1404937"/>
              <a:gd name="connsiteY6" fmla="*/ 2190750 h 2190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04937" h="2190750">
                <a:moveTo>
                  <a:pt x="0" y="2190750"/>
                </a:moveTo>
                <a:lnTo>
                  <a:pt x="1404937" y="2190750"/>
                </a:lnTo>
                <a:lnTo>
                  <a:pt x="1404937" y="1731169"/>
                </a:lnTo>
                <a:lnTo>
                  <a:pt x="590550" y="1733550"/>
                </a:lnTo>
                <a:cubicBezTo>
                  <a:pt x="591344" y="1347787"/>
                  <a:pt x="592137" y="385763"/>
                  <a:pt x="592931" y="0"/>
                </a:cubicBezTo>
                <a:lnTo>
                  <a:pt x="2382" y="2381"/>
                </a:lnTo>
                <a:cubicBezTo>
                  <a:pt x="3969" y="334962"/>
                  <a:pt x="3175" y="1858169"/>
                  <a:pt x="0" y="2190750"/>
                </a:cubicBezTo>
                <a:close/>
              </a:path>
            </a:pathLst>
          </a:custGeom>
          <a:solidFill>
            <a:srgbClr val="0F238D"/>
          </a:solidFill>
          <a:ln w="190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sp>
        <p:nvSpPr>
          <p:cNvPr id="34" name="Freeform 33"/>
          <p:cNvSpPr/>
          <p:nvPr userDrawn="1"/>
        </p:nvSpPr>
        <p:spPr>
          <a:xfrm>
            <a:off x="8502102" y="201462"/>
            <a:ext cx="135419" cy="149888"/>
          </a:xfrm>
          <a:custGeom>
            <a:avLst/>
            <a:gdLst>
              <a:gd name="connsiteX0" fmla="*/ 0 w 483394"/>
              <a:gd name="connsiteY0" fmla="*/ 0 h 645319"/>
              <a:gd name="connsiteX1" fmla="*/ 0 w 483394"/>
              <a:gd name="connsiteY1" fmla="*/ 528638 h 645319"/>
              <a:gd name="connsiteX2" fmla="*/ 33338 w 483394"/>
              <a:gd name="connsiteY2" fmla="*/ 528638 h 645319"/>
              <a:gd name="connsiteX3" fmla="*/ 381000 w 483394"/>
              <a:gd name="connsiteY3" fmla="*/ 645319 h 645319"/>
              <a:gd name="connsiteX4" fmla="*/ 483394 w 483394"/>
              <a:gd name="connsiteY4" fmla="*/ 216694 h 645319"/>
              <a:gd name="connsiteX5" fmla="*/ 0 w 483394"/>
              <a:gd name="connsiteY5" fmla="*/ 0 h 645319"/>
              <a:gd name="connsiteX0" fmla="*/ 0 w 1626394"/>
              <a:gd name="connsiteY0" fmla="*/ 0 h 528638"/>
              <a:gd name="connsiteX1" fmla="*/ 0 w 1626394"/>
              <a:gd name="connsiteY1" fmla="*/ 528638 h 528638"/>
              <a:gd name="connsiteX2" fmla="*/ 33338 w 1626394"/>
              <a:gd name="connsiteY2" fmla="*/ 528638 h 528638"/>
              <a:gd name="connsiteX3" fmla="*/ 1626394 w 1626394"/>
              <a:gd name="connsiteY3" fmla="*/ 7144 h 528638"/>
              <a:gd name="connsiteX4" fmla="*/ 483394 w 1626394"/>
              <a:gd name="connsiteY4" fmla="*/ 216694 h 528638"/>
              <a:gd name="connsiteX5" fmla="*/ 0 w 1626394"/>
              <a:gd name="connsiteY5" fmla="*/ 0 h 528638"/>
              <a:gd name="connsiteX0" fmla="*/ 0 w 1626394"/>
              <a:gd name="connsiteY0" fmla="*/ 0 h 528638"/>
              <a:gd name="connsiteX1" fmla="*/ 0 w 1626394"/>
              <a:gd name="connsiteY1" fmla="*/ 528638 h 528638"/>
              <a:gd name="connsiteX2" fmla="*/ 33338 w 1626394"/>
              <a:gd name="connsiteY2" fmla="*/ 528638 h 528638"/>
              <a:gd name="connsiteX3" fmla="*/ 1626394 w 1626394"/>
              <a:gd name="connsiteY3" fmla="*/ 7144 h 528638"/>
              <a:gd name="connsiteX4" fmla="*/ 483394 w 1626394"/>
              <a:gd name="connsiteY4" fmla="*/ 216694 h 528638"/>
              <a:gd name="connsiteX5" fmla="*/ 0 w 1626394"/>
              <a:gd name="connsiteY5" fmla="*/ 0 h 528638"/>
              <a:gd name="connsiteX0" fmla="*/ 0 w 1626394"/>
              <a:gd name="connsiteY0" fmla="*/ 0 h 714375"/>
              <a:gd name="connsiteX1" fmla="*/ 0 w 1626394"/>
              <a:gd name="connsiteY1" fmla="*/ 528638 h 714375"/>
              <a:gd name="connsiteX2" fmla="*/ 354807 w 1626394"/>
              <a:gd name="connsiteY2" fmla="*/ 714375 h 714375"/>
              <a:gd name="connsiteX3" fmla="*/ 1626394 w 1626394"/>
              <a:gd name="connsiteY3" fmla="*/ 7144 h 714375"/>
              <a:gd name="connsiteX4" fmla="*/ 483394 w 1626394"/>
              <a:gd name="connsiteY4" fmla="*/ 216694 h 714375"/>
              <a:gd name="connsiteX5" fmla="*/ 0 w 1626394"/>
              <a:gd name="connsiteY5" fmla="*/ 0 h 714375"/>
              <a:gd name="connsiteX0" fmla="*/ 0 w 1626394"/>
              <a:gd name="connsiteY0" fmla="*/ 0 h 528638"/>
              <a:gd name="connsiteX1" fmla="*/ 0 w 1626394"/>
              <a:gd name="connsiteY1" fmla="*/ 528638 h 528638"/>
              <a:gd name="connsiteX2" fmla="*/ 1626394 w 1626394"/>
              <a:gd name="connsiteY2" fmla="*/ 7144 h 528638"/>
              <a:gd name="connsiteX3" fmla="*/ 483394 w 1626394"/>
              <a:gd name="connsiteY3" fmla="*/ 216694 h 528638"/>
              <a:gd name="connsiteX4" fmla="*/ 0 w 1626394"/>
              <a:gd name="connsiteY4" fmla="*/ 0 h 528638"/>
              <a:gd name="connsiteX0" fmla="*/ 0 w 1626394"/>
              <a:gd name="connsiteY0" fmla="*/ 0 h 528638"/>
              <a:gd name="connsiteX1" fmla="*/ 0 w 1626394"/>
              <a:gd name="connsiteY1" fmla="*/ 528638 h 528638"/>
              <a:gd name="connsiteX2" fmla="*/ 1626394 w 1626394"/>
              <a:gd name="connsiteY2" fmla="*/ 7144 h 528638"/>
              <a:gd name="connsiteX3" fmla="*/ 483394 w 1626394"/>
              <a:gd name="connsiteY3" fmla="*/ 216694 h 528638"/>
              <a:gd name="connsiteX4" fmla="*/ 0 w 1626394"/>
              <a:gd name="connsiteY4" fmla="*/ 0 h 528638"/>
              <a:gd name="connsiteX0" fmla="*/ 0 w 1626394"/>
              <a:gd name="connsiteY0" fmla="*/ 0 h 681404"/>
              <a:gd name="connsiteX1" fmla="*/ 0 w 1626394"/>
              <a:gd name="connsiteY1" fmla="*/ 528638 h 681404"/>
              <a:gd name="connsiteX2" fmla="*/ 1626394 w 1626394"/>
              <a:gd name="connsiteY2" fmla="*/ 7144 h 681404"/>
              <a:gd name="connsiteX3" fmla="*/ 483394 w 1626394"/>
              <a:gd name="connsiteY3" fmla="*/ 216694 h 681404"/>
              <a:gd name="connsiteX4" fmla="*/ 0 w 1626394"/>
              <a:gd name="connsiteY4" fmla="*/ 0 h 681404"/>
              <a:gd name="connsiteX0" fmla="*/ 0 w 1626394"/>
              <a:gd name="connsiteY0" fmla="*/ 0 h 661055"/>
              <a:gd name="connsiteX1" fmla="*/ 0 w 1626394"/>
              <a:gd name="connsiteY1" fmla="*/ 528638 h 661055"/>
              <a:gd name="connsiteX2" fmla="*/ 1626394 w 1626394"/>
              <a:gd name="connsiteY2" fmla="*/ 7144 h 661055"/>
              <a:gd name="connsiteX3" fmla="*/ 483394 w 1626394"/>
              <a:gd name="connsiteY3" fmla="*/ 216694 h 661055"/>
              <a:gd name="connsiteX4" fmla="*/ 0 w 1626394"/>
              <a:gd name="connsiteY4" fmla="*/ 0 h 661055"/>
              <a:gd name="connsiteX0" fmla="*/ 0 w 1626394"/>
              <a:gd name="connsiteY0" fmla="*/ 0 h 678971"/>
              <a:gd name="connsiteX1" fmla="*/ 0 w 1626394"/>
              <a:gd name="connsiteY1" fmla="*/ 528638 h 678971"/>
              <a:gd name="connsiteX2" fmla="*/ 1626394 w 1626394"/>
              <a:gd name="connsiteY2" fmla="*/ 7144 h 678971"/>
              <a:gd name="connsiteX3" fmla="*/ 483394 w 1626394"/>
              <a:gd name="connsiteY3" fmla="*/ 216694 h 678971"/>
              <a:gd name="connsiteX4" fmla="*/ 0 w 1626394"/>
              <a:gd name="connsiteY4" fmla="*/ 0 h 678971"/>
              <a:gd name="connsiteX0" fmla="*/ 0 w 1626394"/>
              <a:gd name="connsiteY0" fmla="*/ 0 h 678971"/>
              <a:gd name="connsiteX1" fmla="*/ 0 w 1626394"/>
              <a:gd name="connsiteY1" fmla="*/ 528638 h 678971"/>
              <a:gd name="connsiteX2" fmla="*/ 1626394 w 1626394"/>
              <a:gd name="connsiteY2" fmla="*/ 7144 h 678971"/>
              <a:gd name="connsiteX3" fmla="*/ 621506 w 1626394"/>
              <a:gd name="connsiteY3" fmla="*/ 233363 h 678971"/>
              <a:gd name="connsiteX4" fmla="*/ 0 w 1626394"/>
              <a:gd name="connsiteY4" fmla="*/ 0 h 678971"/>
              <a:gd name="connsiteX0" fmla="*/ 0 w 1626394"/>
              <a:gd name="connsiteY0" fmla="*/ 4860 h 683831"/>
              <a:gd name="connsiteX1" fmla="*/ 0 w 1626394"/>
              <a:gd name="connsiteY1" fmla="*/ 533498 h 683831"/>
              <a:gd name="connsiteX2" fmla="*/ 1626394 w 1626394"/>
              <a:gd name="connsiteY2" fmla="*/ 12004 h 683831"/>
              <a:gd name="connsiteX3" fmla="*/ 621506 w 1626394"/>
              <a:gd name="connsiteY3" fmla="*/ 238223 h 683831"/>
              <a:gd name="connsiteX4" fmla="*/ 0 w 1626394"/>
              <a:gd name="connsiteY4" fmla="*/ 4860 h 683831"/>
              <a:gd name="connsiteX0" fmla="*/ 0 w 1626394"/>
              <a:gd name="connsiteY0" fmla="*/ 4860 h 683831"/>
              <a:gd name="connsiteX1" fmla="*/ 0 w 1626394"/>
              <a:gd name="connsiteY1" fmla="*/ 533498 h 683831"/>
              <a:gd name="connsiteX2" fmla="*/ 1626394 w 1626394"/>
              <a:gd name="connsiteY2" fmla="*/ 12004 h 683831"/>
              <a:gd name="connsiteX3" fmla="*/ 1066800 w 1626394"/>
              <a:gd name="connsiteY3" fmla="*/ 135830 h 683831"/>
              <a:gd name="connsiteX4" fmla="*/ 621506 w 1626394"/>
              <a:gd name="connsiteY4" fmla="*/ 238223 h 683831"/>
              <a:gd name="connsiteX5" fmla="*/ 0 w 1626394"/>
              <a:gd name="connsiteY5" fmla="*/ 4860 h 683831"/>
              <a:gd name="connsiteX0" fmla="*/ 0 w 1626394"/>
              <a:gd name="connsiteY0" fmla="*/ 111917 h 790888"/>
              <a:gd name="connsiteX1" fmla="*/ 0 w 1626394"/>
              <a:gd name="connsiteY1" fmla="*/ 640555 h 790888"/>
              <a:gd name="connsiteX2" fmla="*/ 1626394 w 1626394"/>
              <a:gd name="connsiteY2" fmla="*/ 119061 h 790888"/>
              <a:gd name="connsiteX3" fmla="*/ 923925 w 1626394"/>
              <a:gd name="connsiteY3" fmla="*/ 0 h 790888"/>
              <a:gd name="connsiteX4" fmla="*/ 621506 w 1626394"/>
              <a:gd name="connsiteY4" fmla="*/ 345280 h 790888"/>
              <a:gd name="connsiteX5" fmla="*/ 0 w 1626394"/>
              <a:gd name="connsiteY5" fmla="*/ 111917 h 790888"/>
              <a:gd name="connsiteX0" fmla="*/ 0 w 1626394"/>
              <a:gd name="connsiteY0" fmla="*/ 111917 h 790888"/>
              <a:gd name="connsiteX1" fmla="*/ 0 w 1626394"/>
              <a:gd name="connsiteY1" fmla="*/ 640555 h 790888"/>
              <a:gd name="connsiteX2" fmla="*/ 1626394 w 1626394"/>
              <a:gd name="connsiteY2" fmla="*/ 119061 h 790888"/>
              <a:gd name="connsiteX3" fmla="*/ 1059656 w 1626394"/>
              <a:gd name="connsiteY3" fmla="*/ 23812 h 790888"/>
              <a:gd name="connsiteX4" fmla="*/ 923925 w 1626394"/>
              <a:gd name="connsiteY4" fmla="*/ 0 h 790888"/>
              <a:gd name="connsiteX5" fmla="*/ 621506 w 1626394"/>
              <a:gd name="connsiteY5" fmla="*/ 345280 h 790888"/>
              <a:gd name="connsiteX6" fmla="*/ 0 w 1626394"/>
              <a:gd name="connsiteY6" fmla="*/ 111917 h 790888"/>
              <a:gd name="connsiteX0" fmla="*/ 0 w 1626394"/>
              <a:gd name="connsiteY0" fmla="*/ 538161 h 1217132"/>
              <a:gd name="connsiteX1" fmla="*/ 0 w 1626394"/>
              <a:gd name="connsiteY1" fmla="*/ 1066799 h 1217132"/>
              <a:gd name="connsiteX2" fmla="*/ 1626394 w 1626394"/>
              <a:gd name="connsiteY2" fmla="*/ 545305 h 1217132"/>
              <a:gd name="connsiteX3" fmla="*/ 1323974 w 1626394"/>
              <a:gd name="connsiteY3" fmla="*/ 0 h 1217132"/>
              <a:gd name="connsiteX4" fmla="*/ 923925 w 1626394"/>
              <a:gd name="connsiteY4" fmla="*/ 426244 h 1217132"/>
              <a:gd name="connsiteX5" fmla="*/ 621506 w 1626394"/>
              <a:gd name="connsiteY5" fmla="*/ 771524 h 1217132"/>
              <a:gd name="connsiteX6" fmla="*/ 0 w 1626394"/>
              <a:gd name="connsiteY6" fmla="*/ 538161 h 1217132"/>
              <a:gd name="connsiteX0" fmla="*/ 0 w 1626394"/>
              <a:gd name="connsiteY0" fmla="*/ 538161 h 1217132"/>
              <a:gd name="connsiteX1" fmla="*/ 0 w 1626394"/>
              <a:gd name="connsiteY1" fmla="*/ 1066799 h 1217132"/>
              <a:gd name="connsiteX2" fmla="*/ 1626394 w 1626394"/>
              <a:gd name="connsiteY2" fmla="*/ 545305 h 1217132"/>
              <a:gd name="connsiteX3" fmla="*/ 1323974 w 1626394"/>
              <a:gd name="connsiteY3" fmla="*/ 0 h 1217132"/>
              <a:gd name="connsiteX4" fmla="*/ 923925 w 1626394"/>
              <a:gd name="connsiteY4" fmla="*/ 426244 h 1217132"/>
              <a:gd name="connsiteX5" fmla="*/ 621506 w 1626394"/>
              <a:gd name="connsiteY5" fmla="*/ 771524 h 1217132"/>
              <a:gd name="connsiteX6" fmla="*/ 0 w 1626394"/>
              <a:gd name="connsiteY6" fmla="*/ 538161 h 1217132"/>
              <a:gd name="connsiteX0" fmla="*/ 0 w 1635310"/>
              <a:gd name="connsiteY0" fmla="*/ 538161 h 1066802"/>
              <a:gd name="connsiteX1" fmla="*/ 0 w 1635310"/>
              <a:gd name="connsiteY1" fmla="*/ 1066799 h 1066802"/>
              <a:gd name="connsiteX2" fmla="*/ 1626394 w 1635310"/>
              <a:gd name="connsiteY2" fmla="*/ 545305 h 1066802"/>
              <a:gd name="connsiteX3" fmla="*/ 1323974 w 1635310"/>
              <a:gd name="connsiteY3" fmla="*/ 0 h 1066802"/>
              <a:gd name="connsiteX4" fmla="*/ 923925 w 1635310"/>
              <a:gd name="connsiteY4" fmla="*/ 426244 h 1066802"/>
              <a:gd name="connsiteX5" fmla="*/ 621506 w 1635310"/>
              <a:gd name="connsiteY5" fmla="*/ 771524 h 1066802"/>
              <a:gd name="connsiteX6" fmla="*/ 0 w 1635310"/>
              <a:gd name="connsiteY6" fmla="*/ 538161 h 1066802"/>
              <a:gd name="connsiteX0" fmla="*/ 0 w 1632620"/>
              <a:gd name="connsiteY0" fmla="*/ 538161 h 1083110"/>
              <a:gd name="connsiteX1" fmla="*/ 0 w 1632620"/>
              <a:gd name="connsiteY1" fmla="*/ 1066799 h 1083110"/>
              <a:gd name="connsiteX2" fmla="*/ 1626394 w 1632620"/>
              <a:gd name="connsiteY2" fmla="*/ 545305 h 1083110"/>
              <a:gd name="connsiteX3" fmla="*/ 1323974 w 1632620"/>
              <a:gd name="connsiteY3" fmla="*/ 0 h 1083110"/>
              <a:gd name="connsiteX4" fmla="*/ 923925 w 1632620"/>
              <a:gd name="connsiteY4" fmla="*/ 426244 h 1083110"/>
              <a:gd name="connsiteX5" fmla="*/ 621506 w 1632620"/>
              <a:gd name="connsiteY5" fmla="*/ 771524 h 1083110"/>
              <a:gd name="connsiteX6" fmla="*/ 0 w 1632620"/>
              <a:gd name="connsiteY6" fmla="*/ 538161 h 1083110"/>
              <a:gd name="connsiteX0" fmla="*/ 0 w 1638832"/>
              <a:gd name="connsiteY0" fmla="*/ 538161 h 1079262"/>
              <a:gd name="connsiteX1" fmla="*/ 0 w 1638832"/>
              <a:gd name="connsiteY1" fmla="*/ 1066799 h 1079262"/>
              <a:gd name="connsiteX2" fmla="*/ 1626394 w 1638832"/>
              <a:gd name="connsiteY2" fmla="*/ 545305 h 1079262"/>
              <a:gd name="connsiteX3" fmla="*/ 1323974 w 1638832"/>
              <a:gd name="connsiteY3" fmla="*/ 0 h 1079262"/>
              <a:gd name="connsiteX4" fmla="*/ 923925 w 1638832"/>
              <a:gd name="connsiteY4" fmla="*/ 426244 h 1079262"/>
              <a:gd name="connsiteX5" fmla="*/ 621506 w 1638832"/>
              <a:gd name="connsiteY5" fmla="*/ 771524 h 1079262"/>
              <a:gd name="connsiteX6" fmla="*/ 0 w 1638832"/>
              <a:gd name="connsiteY6" fmla="*/ 538161 h 1079262"/>
              <a:gd name="connsiteX0" fmla="*/ 0 w 1629379"/>
              <a:gd name="connsiteY0" fmla="*/ 538161 h 1066897"/>
              <a:gd name="connsiteX1" fmla="*/ 0 w 1629379"/>
              <a:gd name="connsiteY1" fmla="*/ 1066799 h 1066897"/>
              <a:gd name="connsiteX2" fmla="*/ 1616869 w 1629379"/>
              <a:gd name="connsiteY2" fmla="*/ 409574 h 1066897"/>
              <a:gd name="connsiteX3" fmla="*/ 1323974 w 1629379"/>
              <a:gd name="connsiteY3" fmla="*/ 0 h 1066897"/>
              <a:gd name="connsiteX4" fmla="*/ 923925 w 1629379"/>
              <a:gd name="connsiteY4" fmla="*/ 426244 h 1066897"/>
              <a:gd name="connsiteX5" fmla="*/ 621506 w 1629379"/>
              <a:gd name="connsiteY5" fmla="*/ 771524 h 1066897"/>
              <a:gd name="connsiteX6" fmla="*/ 0 w 1629379"/>
              <a:gd name="connsiteY6" fmla="*/ 538161 h 1066897"/>
              <a:gd name="connsiteX0" fmla="*/ 0 w 1620913"/>
              <a:gd name="connsiteY0" fmla="*/ 538161 h 1107877"/>
              <a:gd name="connsiteX1" fmla="*/ 0 w 1620913"/>
              <a:gd name="connsiteY1" fmla="*/ 1066799 h 1107877"/>
              <a:gd name="connsiteX2" fmla="*/ 1616869 w 1620913"/>
              <a:gd name="connsiteY2" fmla="*/ 409574 h 1107877"/>
              <a:gd name="connsiteX3" fmla="*/ 1323974 w 1620913"/>
              <a:gd name="connsiteY3" fmla="*/ 0 h 1107877"/>
              <a:gd name="connsiteX4" fmla="*/ 923925 w 1620913"/>
              <a:gd name="connsiteY4" fmla="*/ 426244 h 1107877"/>
              <a:gd name="connsiteX5" fmla="*/ 621506 w 1620913"/>
              <a:gd name="connsiteY5" fmla="*/ 771524 h 1107877"/>
              <a:gd name="connsiteX6" fmla="*/ 0 w 1620913"/>
              <a:gd name="connsiteY6" fmla="*/ 538161 h 1107877"/>
              <a:gd name="connsiteX0" fmla="*/ 0 w 1620913"/>
              <a:gd name="connsiteY0" fmla="*/ 538161 h 1218265"/>
              <a:gd name="connsiteX1" fmla="*/ 0 w 1620913"/>
              <a:gd name="connsiteY1" fmla="*/ 1066799 h 1218265"/>
              <a:gd name="connsiteX2" fmla="*/ 1616869 w 1620913"/>
              <a:gd name="connsiteY2" fmla="*/ 409574 h 1218265"/>
              <a:gd name="connsiteX3" fmla="*/ 1323974 w 1620913"/>
              <a:gd name="connsiteY3" fmla="*/ 0 h 1218265"/>
              <a:gd name="connsiteX4" fmla="*/ 923925 w 1620913"/>
              <a:gd name="connsiteY4" fmla="*/ 426244 h 1218265"/>
              <a:gd name="connsiteX5" fmla="*/ 621506 w 1620913"/>
              <a:gd name="connsiteY5" fmla="*/ 771524 h 1218265"/>
              <a:gd name="connsiteX6" fmla="*/ 0 w 1620913"/>
              <a:gd name="connsiteY6" fmla="*/ 538161 h 1218265"/>
              <a:gd name="connsiteX0" fmla="*/ 0 w 1620913"/>
              <a:gd name="connsiteY0" fmla="*/ 538161 h 1066799"/>
              <a:gd name="connsiteX1" fmla="*/ 0 w 1620913"/>
              <a:gd name="connsiteY1" fmla="*/ 1066799 h 1066799"/>
              <a:gd name="connsiteX2" fmla="*/ 1616869 w 1620913"/>
              <a:gd name="connsiteY2" fmla="*/ 409574 h 1066799"/>
              <a:gd name="connsiteX3" fmla="*/ 1323974 w 1620913"/>
              <a:gd name="connsiteY3" fmla="*/ 0 h 1066799"/>
              <a:gd name="connsiteX4" fmla="*/ 923925 w 1620913"/>
              <a:gd name="connsiteY4" fmla="*/ 426244 h 1066799"/>
              <a:gd name="connsiteX5" fmla="*/ 621506 w 1620913"/>
              <a:gd name="connsiteY5" fmla="*/ 771524 h 1066799"/>
              <a:gd name="connsiteX6" fmla="*/ 0 w 1620913"/>
              <a:gd name="connsiteY6" fmla="*/ 538161 h 1066799"/>
              <a:gd name="connsiteX0" fmla="*/ 0 w 1620913"/>
              <a:gd name="connsiteY0" fmla="*/ 538161 h 1213299"/>
              <a:gd name="connsiteX1" fmla="*/ 0 w 1620913"/>
              <a:gd name="connsiteY1" fmla="*/ 1066799 h 1213299"/>
              <a:gd name="connsiteX2" fmla="*/ 1616869 w 1620913"/>
              <a:gd name="connsiteY2" fmla="*/ 409574 h 1213299"/>
              <a:gd name="connsiteX3" fmla="*/ 1323974 w 1620913"/>
              <a:gd name="connsiteY3" fmla="*/ 0 h 1213299"/>
              <a:gd name="connsiteX4" fmla="*/ 923925 w 1620913"/>
              <a:gd name="connsiteY4" fmla="*/ 426244 h 1213299"/>
              <a:gd name="connsiteX5" fmla="*/ 621506 w 1620913"/>
              <a:gd name="connsiteY5" fmla="*/ 771524 h 1213299"/>
              <a:gd name="connsiteX6" fmla="*/ 0 w 1620913"/>
              <a:gd name="connsiteY6" fmla="*/ 538161 h 121329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32881"/>
              <a:gd name="connsiteY0" fmla="*/ 538161 h 1232035"/>
              <a:gd name="connsiteX1" fmla="*/ 0 w 1632881"/>
              <a:gd name="connsiteY1" fmla="*/ 1066799 h 1232035"/>
              <a:gd name="connsiteX2" fmla="*/ 1621631 w 1632881"/>
              <a:gd name="connsiteY2" fmla="*/ 523874 h 1232035"/>
              <a:gd name="connsiteX3" fmla="*/ 1323974 w 1632881"/>
              <a:gd name="connsiteY3" fmla="*/ 0 h 1232035"/>
              <a:gd name="connsiteX4" fmla="*/ 923925 w 1632881"/>
              <a:gd name="connsiteY4" fmla="*/ 426244 h 1232035"/>
              <a:gd name="connsiteX5" fmla="*/ 621506 w 1632881"/>
              <a:gd name="connsiteY5" fmla="*/ 771524 h 1232035"/>
              <a:gd name="connsiteX6" fmla="*/ 0 w 1632881"/>
              <a:gd name="connsiteY6" fmla="*/ 538161 h 1232035"/>
              <a:gd name="connsiteX0" fmla="*/ 0 w 1622936"/>
              <a:gd name="connsiteY0" fmla="*/ 538161 h 1236750"/>
              <a:gd name="connsiteX1" fmla="*/ 0 w 1622936"/>
              <a:gd name="connsiteY1" fmla="*/ 1066799 h 1236750"/>
              <a:gd name="connsiteX2" fmla="*/ 1621631 w 1622936"/>
              <a:gd name="connsiteY2" fmla="*/ 523874 h 1236750"/>
              <a:gd name="connsiteX3" fmla="*/ 1323974 w 1622936"/>
              <a:gd name="connsiteY3" fmla="*/ 0 h 1236750"/>
              <a:gd name="connsiteX4" fmla="*/ 923925 w 1622936"/>
              <a:gd name="connsiteY4" fmla="*/ 426244 h 1236750"/>
              <a:gd name="connsiteX5" fmla="*/ 621506 w 1622936"/>
              <a:gd name="connsiteY5" fmla="*/ 771524 h 1236750"/>
              <a:gd name="connsiteX6" fmla="*/ 0 w 1622936"/>
              <a:gd name="connsiteY6" fmla="*/ 538161 h 1236750"/>
              <a:gd name="connsiteX0" fmla="*/ 0 w 1627932"/>
              <a:gd name="connsiteY0" fmla="*/ 538161 h 1227283"/>
              <a:gd name="connsiteX1" fmla="*/ 0 w 1627932"/>
              <a:gd name="connsiteY1" fmla="*/ 1066799 h 1227283"/>
              <a:gd name="connsiteX2" fmla="*/ 1621631 w 1627932"/>
              <a:gd name="connsiteY2" fmla="*/ 523874 h 1227283"/>
              <a:gd name="connsiteX3" fmla="*/ 1323974 w 1627932"/>
              <a:gd name="connsiteY3" fmla="*/ 0 h 1227283"/>
              <a:gd name="connsiteX4" fmla="*/ 923925 w 1627932"/>
              <a:gd name="connsiteY4" fmla="*/ 426244 h 1227283"/>
              <a:gd name="connsiteX5" fmla="*/ 621506 w 1627932"/>
              <a:gd name="connsiteY5" fmla="*/ 771524 h 1227283"/>
              <a:gd name="connsiteX6" fmla="*/ 0 w 1627932"/>
              <a:gd name="connsiteY6" fmla="*/ 538161 h 1227283"/>
              <a:gd name="connsiteX0" fmla="*/ 0 w 1627932"/>
              <a:gd name="connsiteY0" fmla="*/ 538161 h 1066799"/>
              <a:gd name="connsiteX1" fmla="*/ 0 w 1627932"/>
              <a:gd name="connsiteY1" fmla="*/ 1066799 h 1066799"/>
              <a:gd name="connsiteX2" fmla="*/ 1621631 w 1627932"/>
              <a:gd name="connsiteY2" fmla="*/ 523874 h 1066799"/>
              <a:gd name="connsiteX3" fmla="*/ 1323974 w 1627932"/>
              <a:gd name="connsiteY3" fmla="*/ 0 h 1066799"/>
              <a:gd name="connsiteX4" fmla="*/ 923925 w 1627932"/>
              <a:gd name="connsiteY4" fmla="*/ 426244 h 1066799"/>
              <a:gd name="connsiteX5" fmla="*/ 621506 w 1627932"/>
              <a:gd name="connsiteY5" fmla="*/ 771524 h 1066799"/>
              <a:gd name="connsiteX6" fmla="*/ 0 w 1627932"/>
              <a:gd name="connsiteY6" fmla="*/ 538161 h 1066799"/>
              <a:gd name="connsiteX0" fmla="*/ 0 w 1627647"/>
              <a:gd name="connsiteY0" fmla="*/ 538161 h 1066799"/>
              <a:gd name="connsiteX1" fmla="*/ 0 w 1627647"/>
              <a:gd name="connsiteY1" fmla="*/ 1066799 h 1066799"/>
              <a:gd name="connsiteX2" fmla="*/ 1621631 w 1627647"/>
              <a:gd name="connsiteY2" fmla="*/ 523874 h 1066799"/>
              <a:gd name="connsiteX3" fmla="*/ 1323974 w 1627647"/>
              <a:gd name="connsiteY3" fmla="*/ 0 h 1066799"/>
              <a:gd name="connsiteX4" fmla="*/ 923925 w 1627647"/>
              <a:gd name="connsiteY4" fmla="*/ 426244 h 1066799"/>
              <a:gd name="connsiteX5" fmla="*/ 621506 w 1627647"/>
              <a:gd name="connsiteY5" fmla="*/ 771524 h 1066799"/>
              <a:gd name="connsiteX6" fmla="*/ 0 w 1627647"/>
              <a:gd name="connsiteY6" fmla="*/ 538161 h 1066799"/>
              <a:gd name="connsiteX0" fmla="*/ 0 w 1627647"/>
              <a:gd name="connsiteY0" fmla="*/ 538161 h 1066799"/>
              <a:gd name="connsiteX1" fmla="*/ 0 w 1627647"/>
              <a:gd name="connsiteY1" fmla="*/ 1066799 h 1066799"/>
              <a:gd name="connsiteX2" fmla="*/ 1621631 w 1627647"/>
              <a:gd name="connsiteY2" fmla="*/ 523874 h 1066799"/>
              <a:gd name="connsiteX3" fmla="*/ 1323974 w 1627647"/>
              <a:gd name="connsiteY3" fmla="*/ 0 h 1066799"/>
              <a:gd name="connsiteX4" fmla="*/ 923925 w 1627647"/>
              <a:gd name="connsiteY4" fmla="*/ 426244 h 1066799"/>
              <a:gd name="connsiteX5" fmla="*/ 621506 w 1627647"/>
              <a:gd name="connsiteY5" fmla="*/ 771524 h 1066799"/>
              <a:gd name="connsiteX6" fmla="*/ 0 w 1627647"/>
              <a:gd name="connsiteY6" fmla="*/ 538161 h 1066799"/>
              <a:gd name="connsiteX0" fmla="*/ 0 w 1627647"/>
              <a:gd name="connsiteY0" fmla="*/ 538161 h 1134969"/>
              <a:gd name="connsiteX1" fmla="*/ 0 w 1627647"/>
              <a:gd name="connsiteY1" fmla="*/ 1066799 h 1134969"/>
              <a:gd name="connsiteX2" fmla="*/ 1621631 w 1627647"/>
              <a:gd name="connsiteY2" fmla="*/ 523874 h 1134969"/>
              <a:gd name="connsiteX3" fmla="*/ 1323974 w 1627647"/>
              <a:gd name="connsiteY3" fmla="*/ 0 h 1134969"/>
              <a:gd name="connsiteX4" fmla="*/ 923925 w 1627647"/>
              <a:gd name="connsiteY4" fmla="*/ 426244 h 1134969"/>
              <a:gd name="connsiteX5" fmla="*/ 621506 w 1627647"/>
              <a:gd name="connsiteY5" fmla="*/ 771524 h 1134969"/>
              <a:gd name="connsiteX6" fmla="*/ 0 w 1627647"/>
              <a:gd name="connsiteY6" fmla="*/ 538161 h 1134969"/>
              <a:gd name="connsiteX0" fmla="*/ 0 w 1627647"/>
              <a:gd name="connsiteY0" fmla="*/ 538161 h 1213483"/>
              <a:gd name="connsiteX1" fmla="*/ 0 w 1627647"/>
              <a:gd name="connsiteY1" fmla="*/ 1066799 h 1213483"/>
              <a:gd name="connsiteX2" fmla="*/ 1621631 w 1627647"/>
              <a:gd name="connsiteY2" fmla="*/ 523874 h 1213483"/>
              <a:gd name="connsiteX3" fmla="*/ 1323974 w 1627647"/>
              <a:gd name="connsiteY3" fmla="*/ 0 h 1213483"/>
              <a:gd name="connsiteX4" fmla="*/ 923925 w 1627647"/>
              <a:gd name="connsiteY4" fmla="*/ 426244 h 1213483"/>
              <a:gd name="connsiteX5" fmla="*/ 621506 w 1627647"/>
              <a:gd name="connsiteY5" fmla="*/ 771524 h 1213483"/>
              <a:gd name="connsiteX6" fmla="*/ 0 w 1627647"/>
              <a:gd name="connsiteY6" fmla="*/ 538161 h 1213483"/>
              <a:gd name="connsiteX0" fmla="*/ 0 w 1627647"/>
              <a:gd name="connsiteY0" fmla="*/ 538161 h 1190326"/>
              <a:gd name="connsiteX1" fmla="*/ 0 w 1627647"/>
              <a:gd name="connsiteY1" fmla="*/ 1066799 h 1190326"/>
              <a:gd name="connsiteX2" fmla="*/ 1621631 w 1627647"/>
              <a:gd name="connsiteY2" fmla="*/ 523874 h 1190326"/>
              <a:gd name="connsiteX3" fmla="*/ 1323974 w 1627647"/>
              <a:gd name="connsiteY3" fmla="*/ 0 h 1190326"/>
              <a:gd name="connsiteX4" fmla="*/ 923925 w 1627647"/>
              <a:gd name="connsiteY4" fmla="*/ 426244 h 1190326"/>
              <a:gd name="connsiteX5" fmla="*/ 621506 w 1627647"/>
              <a:gd name="connsiteY5" fmla="*/ 771524 h 1190326"/>
              <a:gd name="connsiteX6" fmla="*/ 0 w 1627647"/>
              <a:gd name="connsiteY6" fmla="*/ 538161 h 1190326"/>
              <a:gd name="connsiteX0" fmla="*/ 0 w 1627647"/>
              <a:gd name="connsiteY0" fmla="*/ 538161 h 1219698"/>
              <a:gd name="connsiteX1" fmla="*/ 0 w 1627647"/>
              <a:gd name="connsiteY1" fmla="*/ 1066799 h 1219698"/>
              <a:gd name="connsiteX2" fmla="*/ 1621631 w 1627647"/>
              <a:gd name="connsiteY2" fmla="*/ 523874 h 1219698"/>
              <a:gd name="connsiteX3" fmla="*/ 1323974 w 1627647"/>
              <a:gd name="connsiteY3" fmla="*/ 0 h 1219698"/>
              <a:gd name="connsiteX4" fmla="*/ 923925 w 1627647"/>
              <a:gd name="connsiteY4" fmla="*/ 426244 h 1219698"/>
              <a:gd name="connsiteX5" fmla="*/ 621506 w 1627647"/>
              <a:gd name="connsiteY5" fmla="*/ 771524 h 1219698"/>
              <a:gd name="connsiteX6" fmla="*/ 0 w 1627647"/>
              <a:gd name="connsiteY6" fmla="*/ 538161 h 1219698"/>
              <a:gd name="connsiteX0" fmla="*/ 0 w 1627647"/>
              <a:gd name="connsiteY0" fmla="*/ 538161 h 1232307"/>
              <a:gd name="connsiteX1" fmla="*/ 0 w 1627647"/>
              <a:gd name="connsiteY1" fmla="*/ 1066799 h 1232307"/>
              <a:gd name="connsiteX2" fmla="*/ 1621631 w 1627647"/>
              <a:gd name="connsiteY2" fmla="*/ 523874 h 1232307"/>
              <a:gd name="connsiteX3" fmla="*/ 1323974 w 1627647"/>
              <a:gd name="connsiteY3" fmla="*/ 0 h 1232307"/>
              <a:gd name="connsiteX4" fmla="*/ 923925 w 1627647"/>
              <a:gd name="connsiteY4" fmla="*/ 426244 h 1232307"/>
              <a:gd name="connsiteX5" fmla="*/ 621506 w 1627647"/>
              <a:gd name="connsiteY5" fmla="*/ 771524 h 1232307"/>
              <a:gd name="connsiteX6" fmla="*/ 0 w 1627647"/>
              <a:gd name="connsiteY6" fmla="*/ 538161 h 1232307"/>
              <a:gd name="connsiteX0" fmla="*/ 0 w 1627647"/>
              <a:gd name="connsiteY0" fmla="*/ 538161 h 1217230"/>
              <a:gd name="connsiteX1" fmla="*/ 0 w 1627647"/>
              <a:gd name="connsiteY1" fmla="*/ 1066799 h 1217230"/>
              <a:gd name="connsiteX2" fmla="*/ 1621631 w 1627647"/>
              <a:gd name="connsiteY2" fmla="*/ 523874 h 1217230"/>
              <a:gd name="connsiteX3" fmla="*/ 1323974 w 1627647"/>
              <a:gd name="connsiteY3" fmla="*/ 0 h 1217230"/>
              <a:gd name="connsiteX4" fmla="*/ 923925 w 1627647"/>
              <a:gd name="connsiteY4" fmla="*/ 426244 h 1217230"/>
              <a:gd name="connsiteX5" fmla="*/ 621506 w 1627647"/>
              <a:gd name="connsiteY5" fmla="*/ 771524 h 1217230"/>
              <a:gd name="connsiteX6" fmla="*/ 0 w 1627647"/>
              <a:gd name="connsiteY6" fmla="*/ 538161 h 1217230"/>
              <a:gd name="connsiteX0" fmla="*/ 0 w 1627647"/>
              <a:gd name="connsiteY0" fmla="*/ 538161 h 1188997"/>
              <a:gd name="connsiteX1" fmla="*/ 0 w 1627647"/>
              <a:gd name="connsiteY1" fmla="*/ 1066799 h 1188997"/>
              <a:gd name="connsiteX2" fmla="*/ 1621631 w 1627647"/>
              <a:gd name="connsiteY2" fmla="*/ 523874 h 1188997"/>
              <a:gd name="connsiteX3" fmla="*/ 1323974 w 1627647"/>
              <a:gd name="connsiteY3" fmla="*/ 0 h 1188997"/>
              <a:gd name="connsiteX4" fmla="*/ 923925 w 1627647"/>
              <a:gd name="connsiteY4" fmla="*/ 426244 h 1188997"/>
              <a:gd name="connsiteX5" fmla="*/ 621506 w 1627647"/>
              <a:gd name="connsiteY5" fmla="*/ 771524 h 1188997"/>
              <a:gd name="connsiteX6" fmla="*/ 0 w 1627647"/>
              <a:gd name="connsiteY6" fmla="*/ 538161 h 1188997"/>
              <a:gd name="connsiteX0" fmla="*/ 0 w 1627647"/>
              <a:gd name="connsiteY0" fmla="*/ 538161 h 1216261"/>
              <a:gd name="connsiteX1" fmla="*/ 0 w 1627647"/>
              <a:gd name="connsiteY1" fmla="*/ 1066799 h 1216261"/>
              <a:gd name="connsiteX2" fmla="*/ 1621631 w 1627647"/>
              <a:gd name="connsiteY2" fmla="*/ 523874 h 1216261"/>
              <a:gd name="connsiteX3" fmla="*/ 1323974 w 1627647"/>
              <a:gd name="connsiteY3" fmla="*/ 0 h 1216261"/>
              <a:gd name="connsiteX4" fmla="*/ 923925 w 1627647"/>
              <a:gd name="connsiteY4" fmla="*/ 426244 h 1216261"/>
              <a:gd name="connsiteX5" fmla="*/ 621506 w 1627647"/>
              <a:gd name="connsiteY5" fmla="*/ 771524 h 1216261"/>
              <a:gd name="connsiteX6" fmla="*/ 0 w 1627647"/>
              <a:gd name="connsiteY6" fmla="*/ 538161 h 1216261"/>
              <a:gd name="connsiteX0" fmla="*/ 0 w 1627647"/>
              <a:gd name="connsiteY0" fmla="*/ 538161 h 1206398"/>
              <a:gd name="connsiteX1" fmla="*/ 0 w 1627647"/>
              <a:gd name="connsiteY1" fmla="*/ 1066799 h 1206398"/>
              <a:gd name="connsiteX2" fmla="*/ 1621631 w 1627647"/>
              <a:gd name="connsiteY2" fmla="*/ 523874 h 1206398"/>
              <a:gd name="connsiteX3" fmla="*/ 1323974 w 1627647"/>
              <a:gd name="connsiteY3" fmla="*/ 0 h 1206398"/>
              <a:gd name="connsiteX4" fmla="*/ 923925 w 1627647"/>
              <a:gd name="connsiteY4" fmla="*/ 426244 h 1206398"/>
              <a:gd name="connsiteX5" fmla="*/ 621506 w 1627647"/>
              <a:gd name="connsiteY5" fmla="*/ 771524 h 1206398"/>
              <a:gd name="connsiteX6" fmla="*/ 0 w 1627647"/>
              <a:gd name="connsiteY6" fmla="*/ 538161 h 1206398"/>
              <a:gd name="connsiteX0" fmla="*/ 0 w 1627647"/>
              <a:gd name="connsiteY0" fmla="*/ 538161 h 1218880"/>
              <a:gd name="connsiteX1" fmla="*/ 0 w 1627647"/>
              <a:gd name="connsiteY1" fmla="*/ 1066799 h 1218880"/>
              <a:gd name="connsiteX2" fmla="*/ 1621631 w 1627647"/>
              <a:gd name="connsiteY2" fmla="*/ 523874 h 1218880"/>
              <a:gd name="connsiteX3" fmla="*/ 1323974 w 1627647"/>
              <a:gd name="connsiteY3" fmla="*/ 0 h 1218880"/>
              <a:gd name="connsiteX4" fmla="*/ 923925 w 1627647"/>
              <a:gd name="connsiteY4" fmla="*/ 426244 h 1218880"/>
              <a:gd name="connsiteX5" fmla="*/ 621506 w 1627647"/>
              <a:gd name="connsiteY5" fmla="*/ 771524 h 1218880"/>
              <a:gd name="connsiteX6" fmla="*/ 0 w 1627647"/>
              <a:gd name="connsiteY6" fmla="*/ 538161 h 1218880"/>
              <a:gd name="connsiteX0" fmla="*/ 0 w 1627647"/>
              <a:gd name="connsiteY0" fmla="*/ 538161 h 1211596"/>
              <a:gd name="connsiteX1" fmla="*/ 0 w 1627647"/>
              <a:gd name="connsiteY1" fmla="*/ 1066799 h 1211596"/>
              <a:gd name="connsiteX2" fmla="*/ 1621631 w 1627647"/>
              <a:gd name="connsiteY2" fmla="*/ 523874 h 1211596"/>
              <a:gd name="connsiteX3" fmla="*/ 1323974 w 1627647"/>
              <a:gd name="connsiteY3" fmla="*/ 0 h 1211596"/>
              <a:gd name="connsiteX4" fmla="*/ 923925 w 1627647"/>
              <a:gd name="connsiteY4" fmla="*/ 426244 h 1211596"/>
              <a:gd name="connsiteX5" fmla="*/ 621506 w 1627647"/>
              <a:gd name="connsiteY5" fmla="*/ 771524 h 1211596"/>
              <a:gd name="connsiteX6" fmla="*/ 0 w 1627647"/>
              <a:gd name="connsiteY6" fmla="*/ 538161 h 1211596"/>
              <a:gd name="connsiteX0" fmla="*/ 0 w 1627647"/>
              <a:gd name="connsiteY0" fmla="*/ 538161 h 1217962"/>
              <a:gd name="connsiteX1" fmla="*/ 0 w 1627647"/>
              <a:gd name="connsiteY1" fmla="*/ 1066799 h 1217962"/>
              <a:gd name="connsiteX2" fmla="*/ 1621631 w 1627647"/>
              <a:gd name="connsiteY2" fmla="*/ 523874 h 1217962"/>
              <a:gd name="connsiteX3" fmla="*/ 1323974 w 1627647"/>
              <a:gd name="connsiteY3" fmla="*/ 0 h 1217962"/>
              <a:gd name="connsiteX4" fmla="*/ 923925 w 1627647"/>
              <a:gd name="connsiteY4" fmla="*/ 426244 h 1217962"/>
              <a:gd name="connsiteX5" fmla="*/ 621506 w 1627647"/>
              <a:gd name="connsiteY5" fmla="*/ 771524 h 1217962"/>
              <a:gd name="connsiteX6" fmla="*/ 0 w 1627647"/>
              <a:gd name="connsiteY6" fmla="*/ 538161 h 1217962"/>
              <a:gd name="connsiteX0" fmla="*/ 0 w 1627647"/>
              <a:gd name="connsiteY0" fmla="*/ 538161 h 1218399"/>
              <a:gd name="connsiteX1" fmla="*/ 0 w 1627647"/>
              <a:gd name="connsiteY1" fmla="*/ 1066799 h 1218399"/>
              <a:gd name="connsiteX2" fmla="*/ 1621631 w 1627647"/>
              <a:gd name="connsiteY2" fmla="*/ 523874 h 1218399"/>
              <a:gd name="connsiteX3" fmla="*/ 1323974 w 1627647"/>
              <a:gd name="connsiteY3" fmla="*/ 0 h 1218399"/>
              <a:gd name="connsiteX4" fmla="*/ 923925 w 1627647"/>
              <a:gd name="connsiteY4" fmla="*/ 426244 h 1218399"/>
              <a:gd name="connsiteX5" fmla="*/ 621506 w 1627647"/>
              <a:gd name="connsiteY5" fmla="*/ 771524 h 1218399"/>
              <a:gd name="connsiteX6" fmla="*/ 0 w 1627647"/>
              <a:gd name="connsiteY6" fmla="*/ 538161 h 1218399"/>
              <a:gd name="connsiteX0" fmla="*/ 0 w 1627647"/>
              <a:gd name="connsiteY0" fmla="*/ 538161 h 1212839"/>
              <a:gd name="connsiteX1" fmla="*/ 0 w 1627647"/>
              <a:gd name="connsiteY1" fmla="*/ 1066799 h 1212839"/>
              <a:gd name="connsiteX2" fmla="*/ 1621631 w 1627647"/>
              <a:gd name="connsiteY2" fmla="*/ 523874 h 1212839"/>
              <a:gd name="connsiteX3" fmla="*/ 1323974 w 1627647"/>
              <a:gd name="connsiteY3" fmla="*/ 0 h 1212839"/>
              <a:gd name="connsiteX4" fmla="*/ 923925 w 1627647"/>
              <a:gd name="connsiteY4" fmla="*/ 426244 h 1212839"/>
              <a:gd name="connsiteX5" fmla="*/ 621506 w 1627647"/>
              <a:gd name="connsiteY5" fmla="*/ 771524 h 1212839"/>
              <a:gd name="connsiteX6" fmla="*/ 0 w 1627647"/>
              <a:gd name="connsiteY6" fmla="*/ 538161 h 1212839"/>
              <a:gd name="connsiteX0" fmla="*/ 0 w 1627647"/>
              <a:gd name="connsiteY0" fmla="*/ 538161 h 1212839"/>
              <a:gd name="connsiteX1" fmla="*/ 0 w 1627647"/>
              <a:gd name="connsiteY1" fmla="*/ 1066799 h 1212839"/>
              <a:gd name="connsiteX2" fmla="*/ 1621631 w 1627647"/>
              <a:gd name="connsiteY2" fmla="*/ 523874 h 1212839"/>
              <a:gd name="connsiteX3" fmla="*/ 1323974 w 1627647"/>
              <a:gd name="connsiteY3" fmla="*/ 0 h 1212839"/>
              <a:gd name="connsiteX4" fmla="*/ 1078707 w 1627647"/>
              <a:gd name="connsiteY4" fmla="*/ 257177 h 1212839"/>
              <a:gd name="connsiteX5" fmla="*/ 923925 w 1627647"/>
              <a:gd name="connsiteY5" fmla="*/ 426244 h 1212839"/>
              <a:gd name="connsiteX6" fmla="*/ 621506 w 1627647"/>
              <a:gd name="connsiteY6" fmla="*/ 771524 h 1212839"/>
              <a:gd name="connsiteX7" fmla="*/ 0 w 1627647"/>
              <a:gd name="connsiteY7" fmla="*/ 538161 h 1212839"/>
              <a:gd name="connsiteX0" fmla="*/ 0 w 1627647"/>
              <a:gd name="connsiteY0" fmla="*/ 538161 h 1212839"/>
              <a:gd name="connsiteX1" fmla="*/ 0 w 1627647"/>
              <a:gd name="connsiteY1" fmla="*/ 1066799 h 1212839"/>
              <a:gd name="connsiteX2" fmla="*/ 1621631 w 1627647"/>
              <a:gd name="connsiteY2" fmla="*/ 523874 h 1212839"/>
              <a:gd name="connsiteX3" fmla="*/ 1323974 w 1627647"/>
              <a:gd name="connsiteY3" fmla="*/ 0 h 1212839"/>
              <a:gd name="connsiteX4" fmla="*/ 595313 w 1627647"/>
              <a:gd name="connsiteY4" fmla="*/ 185739 h 1212839"/>
              <a:gd name="connsiteX5" fmla="*/ 923925 w 1627647"/>
              <a:gd name="connsiteY5" fmla="*/ 426244 h 1212839"/>
              <a:gd name="connsiteX6" fmla="*/ 621506 w 1627647"/>
              <a:gd name="connsiteY6" fmla="*/ 771524 h 1212839"/>
              <a:gd name="connsiteX7" fmla="*/ 0 w 1627647"/>
              <a:gd name="connsiteY7" fmla="*/ 538161 h 1212839"/>
              <a:gd name="connsiteX0" fmla="*/ 0 w 1627647"/>
              <a:gd name="connsiteY0" fmla="*/ 538161 h 1212839"/>
              <a:gd name="connsiteX1" fmla="*/ 0 w 1627647"/>
              <a:gd name="connsiteY1" fmla="*/ 1066799 h 1212839"/>
              <a:gd name="connsiteX2" fmla="*/ 1621631 w 1627647"/>
              <a:gd name="connsiteY2" fmla="*/ 523874 h 1212839"/>
              <a:gd name="connsiteX3" fmla="*/ 1323974 w 1627647"/>
              <a:gd name="connsiteY3" fmla="*/ 0 h 1212839"/>
              <a:gd name="connsiteX4" fmla="*/ 973932 w 1627647"/>
              <a:gd name="connsiteY4" fmla="*/ 85727 h 1212839"/>
              <a:gd name="connsiteX5" fmla="*/ 595313 w 1627647"/>
              <a:gd name="connsiteY5" fmla="*/ 185739 h 1212839"/>
              <a:gd name="connsiteX6" fmla="*/ 923925 w 1627647"/>
              <a:gd name="connsiteY6" fmla="*/ 426244 h 1212839"/>
              <a:gd name="connsiteX7" fmla="*/ 621506 w 1627647"/>
              <a:gd name="connsiteY7" fmla="*/ 771524 h 1212839"/>
              <a:gd name="connsiteX8" fmla="*/ 0 w 1627647"/>
              <a:gd name="connsiteY8" fmla="*/ 538161 h 1212839"/>
              <a:gd name="connsiteX0" fmla="*/ 0 w 1627647"/>
              <a:gd name="connsiteY0" fmla="*/ 745328 h 1420006"/>
              <a:gd name="connsiteX1" fmla="*/ 0 w 1627647"/>
              <a:gd name="connsiteY1" fmla="*/ 1273966 h 1420006"/>
              <a:gd name="connsiteX2" fmla="*/ 1621631 w 1627647"/>
              <a:gd name="connsiteY2" fmla="*/ 731041 h 1420006"/>
              <a:gd name="connsiteX3" fmla="*/ 1323974 w 1627647"/>
              <a:gd name="connsiteY3" fmla="*/ 207167 h 1420006"/>
              <a:gd name="connsiteX4" fmla="*/ 835820 w 1627647"/>
              <a:gd name="connsiteY4" fmla="*/ 0 h 1420006"/>
              <a:gd name="connsiteX5" fmla="*/ 595313 w 1627647"/>
              <a:gd name="connsiteY5" fmla="*/ 392906 h 1420006"/>
              <a:gd name="connsiteX6" fmla="*/ 923925 w 1627647"/>
              <a:gd name="connsiteY6" fmla="*/ 633411 h 1420006"/>
              <a:gd name="connsiteX7" fmla="*/ 621506 w 1627647"/>
              <a:gd name="connsiteY7" fmla="*/ 978691 h 1420006"/>
              <a:gd name="connsiteX8" fmla="*/ 0 w 1627647"/>
              <a:gd name="connsiteY8" fmla="*/ 745328 h 1420006"/>
              <a:gd name="connsiteX0" fmla="*/ 0 w 1591281"/>
              <a:gd name="connsiteY0" fmla="*/ 745328 h 1469663"/>
              <a:gd name="connsiteX1" fmla="*/ 0 w 1591281"/>
              <a:gd name="connsiteY1" fmla="*/ 1273966 h 1469663"/>
              <a:gd name="connsiteX2" fmla="*/ 1574006 w 1591281"/>
              <a:gd name="connsiteY2" fmla="*/ 928685 h 1469663"/>
              <a:gd name="connsiteX3" fmla="*/ 1323974 w 1591281"/>
              <a:gd name="connsiteY3" fmla="*/ 207167 h 1469663"/>
              <a:gd name="connsiteX4" fmla="*/ 835820 w 1591281"/>
              <a:gd name="connsiteY4" fmla="*/ 0 h 1469663"/>
              <a:gd name="connsiteX5" fmla="*/ 595313 w 1591281"/>
              <a:gd name="connsiteY5" fmla="*/ 392906 h 1469663"/>
              <a:gd name="connsiteX6" fmla="*/ 923925 w 1591281"/>
              <a:gd name="connsiteY6" fmla="*/ 633411 h 1469663"/>
              <a:gd name="connsiteX7" fmla="*/ 621506 w 1591281"/>
              <a:gd name="connsiteY7" fmla="*/ 978691 h 1469663"/>
              <a:gd name="connsiteX8" fmla="*/ 0 w 1591281"/>
              <a:gd name="connsiteY8" fmla="*/ 745328 h 1469663"/>
              <a:gd name="connsiteX0" fmla="*/ 0 w 1591281"/>
              <a:gd name="connsiteY0" fmla="*/ 745328 h 1425021"/>
              <a:gd name="connsiteX1" fmla="*/ 0 w 1591281"/>
              <a:gd name="connsiteY1" fmla="*/ 1273966 h 1425021"/>
              <a:gd name="connsiteX2" fmla="*/ 1574006 w 1591281"/>
              <a:gd name="connsiteY2" fmla="*/ 928685 h 1425021"/>
              <a:gd name="connsiteX3" fmla="*/ 1323974 w 1591281"/>
              <a:gd name="connsiteY3" fmla="*/ 207167 h 1425021"/>
              <a:gd name="connsiteX4" fmla="*/ 835820 w 1591281"/>
              <a:gd name="connsiteY4" fmla="*/ 0 h 1425021"/>
              <a:gd name="connsiteX5" fmla="*/ 595313 w 1591281"/>
              <a:gd name="connsiteY5" fmla="*/ 392906 h 1425021"/>
              <a:gd name="connsiteX6" fmla="*/ 923925 w 1591281"/>
              <a:gd name="connsiteY6" fmla="*/ 633411 h 1425021"/>
              <a:gd name="connsiteX7" fmla="*/ 621506 w 1591281"/>
              <a:gd name="connsiteY7" fmla="*/ 978691 h 1425021"/>
              <a:gd name="connsiteX8" fmla="*/ 0 w 1591281"/>
              <a:gd name="connsiteY8" fmla="*/ 745328 h 1425021"/>
              <a:gd name="connsiteX0" fmla="*/ 0 w 1622856"/>
              <a:gd name="connsiteY0" fmla="*/ 745328 h 1425021"/>
              <a:gd name="connsiteX1" fmla="*/ 0 w 1622856"/>
              <a:gd name="connsiteY1" fmla="*/ 1273966 h 1425021"/>
              <a:gd name="connsiteX2" fmla="*/ 1574006 w 1622856"/>
              <a:gd name="connsiteY2" fmla="*/ 928685 h 1425021"/>
              <a:gd name="connsiteX3" fmla="*/ 1323974 w 1622856"/>
              <a:gd name="connsiteY3" fmla="*/ 207167 h 1425021"/>
              <a:gd name="connsiteX4" fmla="*/ 835820 w 1622856"/>
              <a:gd name="connsiteY4" fmla="*/ 0 h 1425021"/>
              <a:gd name="connsiteX5" fmla="*/ 595313 w 1622856"/>
              <a:gd name="connsiteY5" fmla="*/ 392906 h 1425021"/>
              <a:gd name="connsiteX6" fmla="*/ 923925 w 1622856"/>
              <a:gd name="connsiteY6" fmla="*/ 633411 h 1425021"/>
              <a:gd name="connsiteX7" fmla="*/ 621506 w 1622856"/>
              <a:gd name="connsiteY7" fmla="*/ 978691 h 1425021"/>
              <a:gd name="connsiteX8" fmla="*/ 0 w 1622856"/>
              <a:gd name="connsiteY8" fmla="*/ 745328 h 1425021"/>
              <a:gd name="connsiteX0" fmla="*/ 0 w 1608710"/>
              <a:gd name="connsiteY0" fmla="*/ 745328 h 1425021"/>
              <a:gd name="connsiteX1" fmla="*/ 0 w 1608710"/>
              <a:gd name="connsiteY1" fmla="*/ 1273966 h 1425021"/>
              <a:gd name="connsiteX2" fmla="*/ 1574006 w 1608710"/>
              <a:gd name="connsiteY2" fmla="*/ 928685 h 1425021"/>
              <a:gd name="connsiteX3" fmla="*/ 1264443 w 1608710"/>
              <a:gd name="connsiteY3" fmla="*/ 166686 h 1425021"/>
              <a:gd name="connsiteX4" fmla="*/ 835820 w 1608710"/>
              <a:gd name="connsiteY4" fmla="*/ 0 h 1425021"/>
              <a:gd name="connsiteX5" fmla="*/ 595313 w 1608710"/>
              <a:gd name="connsiteY5" fmla="*/ 392906 h 1425021"/>
              <a:gd name="connsiteX6" fmla="*/ 923925 w 1608710"/>
              <a:gd name="connsiteY6" fmla="*/ 633411 h 1425021"/>
              <a:gd name="connsiteX7" fmla="*/ 621506 w 1608710"/>
              <a:gd name="connsiteY7" fmla="*/ 978691 h 1425021"/>
              <a:gd name="connsiteX8" fmla="*/ 0 w 1608710"/>
              <a:gd name="connsiteY8" fmla="*/ 745328 h 1425021"/>
              <a:gd name="connsiteX0" fmla="*/ 0 w 1623138"/>
              <a:gd name="connsiteY0" fmla="*/ 745328 h 1425021"/>
              <a:gd name="connsiteX1" fmla="*/ 0 w 1623138"/>
              <a:gd name="connsiteY1" fmla="*/ 1273966 h 1425021"/>
              <a:gd name="connsiteX2" fmla="*/ 1574006 w 1623138"/>
              <a:gd name="connsiteY2" fmla="*/ 928685 h 1425021"/>
              <a:gd name="connsiteX3" fmla="*/ 1264443 w 1623138"/>
              <a:gd name="connsiteY3" fmla="*/ 166686 h 1425021"/>
              <a:gd name="connsiteX4" fmla="*/ 835820 w 1623138"/>
              <a:gd name="connsiteY4" fmla="*/ 0 h 1425021"/>
              <a:gd name="connsiteX5" fmla="*/ 595313 w 1623138"/>
              <a:gd name="connsiteY5" fmla="*/ 392906 h 1425021"/>
              <a:gd name="connsiteX6" fmla="*/ 923925 w 1623138"/>
              <a:gd name="connsiteY6" fmla="*/ 633411 h 1425021"/>
              <a:gd name="connsiteX7" fmla="*/ 621506 w 1623138"/>
              <a:gd name="connsiteY7" fmla="*/ 978691 h 1425021"/>
              <a:gd name="connsiteX8" fmla="*/ 0 w 1623138"/>
              <a:gd name="connsiteY8" fmla="*/ 745328 h 1425021"/>
              <a:gd name="connsiteX0" fmla="*/ 0 w 1623138"/>
              <a:gd name="connsiteY0" fmla="*/ 745328 h 1425021"/>
              <a:gd name="connsiteX1" fmla="*/ 0 w 1623138"/>
              <a:gd name="connsiteY1" fmla="*/ 1273966 h 1425021"/>
              <a:gd name="connsiteX2" fmla="*/ 1574006 w 1623138"/>
              <a:gd name="connsiteY2" fmla="*/ 928685 h 1425021"/>
              <a:gd name="connsiteX3" fmla="*/ 1264443 w 1623138"/>
              <a:gd name="connsiteY3" fmla="*/ 166686 h 1425021"/>
              <a:gd name="connsiteX4" fmla="*/ 835820 w 1623138"/>
              <a:gd name="connsiteY4" fmla="*/ 0 h 1425021"/>
              <a:gd name="connsiteX5" fmla="*/ 595313 w 1623138"/>
              <a:gd name="connsiteY5" fmla="*/ 392906 h 1425021"/>
              <a:gd name="connsiteX6" fmla="*/ 923925 w 1623138"/>
              <a:gd name="connsiteY6" fmla="*/ 633411 h 1425021"/>
              <a:gd name="connsiteX7" fmla="*/ 621506 w 1623138"/>
              <a:gd name="connsiteY7" fmla="*/ 978691 h 1425021"/>
              <a:gd name="connsiteX8" fmla="*/ 0 w 1623138"/>
              <a:gd name="connsiteY8" fmla="*/ 745328 h 1425021"/>
              <a:gd name="connsiteX0" fmla="*/ 0 w 1623138"/>
              <a:gd name="connsiteY0" fmla="*/ 745328 h 1425021"/>
              <a:gd name="connsiteX1" fmla="*/ 0 w 1623138"/>
              <a:gd name="connsiteY1" fmla="*/ 1273966 h 1425021"/>
              <a:gd name="connsiteX2" fmla="*/ 1574006 w 1623138"/>
              <a:gd name="connsiteY2" fmla="*/ 928685 h 1425021"/>
              <a:gd name="connsiteX3" fmla="*/ 1264443 w 1623138"/>
              <a:gd name="connsiteY3" fmla="*/ 166686 h 1425021"/>
              <a:gd name="connsiteX4" fmla="*/ 835820 w 1623138"/>
              <a:gd name="connsiteY4" fmla="*/ 0 h 1425021"/>
              <a:gd name="connsiteX5" fmla="*/ 709613 w 1623138"/>
              <a:gd name="connsiteY5" fmla="*/ 207169 h 1425021"/>
              <a:gd name="connsiteX6" fmla="*/ 595313 w 1623138"/>
              <a:gd name="connsiteY6" fmla="*/ 392906 h 1425021"/>
              <a:gd name="connsiteX7" fmla="*/ 923925 w 1623138"/>
              <a:gd name="connsiteY7" fmla="*/ 633411 h 1425021"/>
              <a:gd name="connsiteX8" fmla="*/ 621506 w 1623138"/>
              <a:gd name="connsiteY8" fmla="*/ 978691 h 1425021"/>
              <a:gd name="connsiteX9" fmla="*/ 0 w 1623138"/>
              <a:gd name="connsiteY9" fmla="*/ 745328 h 1425021"/>
              <a:gd name="connsiteX0" fmla="*/ 0 w 1623138"/>
              <a:gd name="connsiteY0" fmla="*/ 797716 h 1477409"/>
              <a:gd name="connsiteX1" fmla="*/ 0 w 1623138"/>
              <a:gd name="connsiteY1" fmla="*/ 1326354 h 1477409"/>
              <a:gd name="connsiteX2" fmla="*/ 1574006 w 1623138"/>
              <a:gd name="connsiteY2" fmla="*/ 981073 h 1477409"/>
              <a:gd name="connsiteX3" fmla="*/ 1264443 w 1623138"/>
              <a:gd name="connsiteY3" fmla="*/ 219074 h 1477409"/>
              <a:gd name="connsiteX4" fmla="*/ 835820 w 1623138"/>
              <a:gd name="connsiteY4" fmla="*/ 52388 h 1477409"/>
              <a:gd name="connsiteX5" fmla="*/ 421482 w 1623138"/>
              <a:gd name="connsiteY5" fmla="*/ 0 h 1477409"/>
              <a:gd name="connsiteX6" fmla="*/ 595313 w 1623138"/>
              <a:gd name="connsiteY6" fmla="*/ 445294 h 1477409"/>
              <a:gd name="connsiteX7" fmla="*/ 923925 w 1623138"/>
              <a:gd name="connsiteY7" fmla="*/ 685799 h 1477409"/>
              <a:gd name="connsiteX8" fmla="*/ 621506 w 1623138"/>
              <a:gd name="connsiteY8" fmla="*/ 1031079 h 1477409"/>
              <a:gd name="connsiteX9" fmla="*/ 0 w 1623138"/>
              <a:gd name="connsiteY9" fmla="*/ 797716 h 1477409"/>
              <a:gd name="connsiteX0" fmla="*/ 0 w 1623138"/>
              <a:gd name="connsiteY0" fmla="*/ 797716 h 1477409"/>
              <a:gd name="connsiteX1" fmla="*/ 0 w 1623138"/>
              <a:gd name="connsiteY1" fmla="*/ 1326354 h 1477409"/>
              <a:gd name="connsiteX2" fmla="*/ 1574006 w 1623138"/>
              <a:gd name="connsiteY2" fmla="*/ 981073 h 1477409"/>
              <a:gd name="connsiteX3" fmla="*/ 1264443 w 1623138"/>
              <a:gd name="connsiteY3" fmla="*/ 219074 h 1477409"/>
              <a:gd name="connsiteX4" fmla="*/ 835820 w 1623138"/>
              <a:gd name="connsiteY4" fmla="*/ 52388 h 1477409"/>
              <a:gd name="connsiteX5" fmla="*/ 654844 w 1623138"/>
              <a:gd name="connsiteY5" fmla="*/ 26194 h 1477409"/>
              <a:gd name="connsiteX6" fmla="*/ 421482 w 1623138"/>
              <a:gd name="connsiteY6" fmla="*/ 0 h 1477409"/>
              <a:gd name="connsiteX7" fmla="*/ 595313 w 1623138"/>
              <a:gd name="connsiteY7" fmla="*/ 445294 h 1477409"/>
              <a:gd name="connsiteX8" fmla="*/ 923925 w 1623138"/>
              <a:gd name="connsiteY8" fmla="*/ 685799 h 1477409"/>
              <a:gd name="connsiteX9" fmla="*/ 621506 w 1623138"/>
              <a:gd name="connsiteY9" fmla="*/ 1031079 h 1477409"/>
              <a:gd name="connsiteX10" fmla="*/ 0 w 1623138"/>
              <a:gd name="connsiteY10" fmla="*/ 797716 h 1477409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652572"/>
              <a:gd name="connsiteX1" fmla="*/ 0 w 1623138"/>
              <a:gd name="connsiteY1" fmla="*/ 1647822 h 1652572"/>
              <a:gd name="connsiteX2" fmla="*/ 1574006 w 1623138"/>
              <a:gd name="connsiteY2" fmla="*/ 1302541 h 1652572"/>
              <a:gd name="connsiteX3" fmla="*/ 1264443 w 1623138"/>
              <a:gd name="connsiteY3" fmla="*/ 540542 h 1652572"/>
              <a:gd name="connsiteX4" fmla="*/ 835820 w 1623138"/>
              <a:gd name="connsiteY4" fmla="*/ 373856 h 1652572"/>
              <a:gd name="connsiteX5" fmla="*/ 807244 w 1623138"/>
              <a:gd name="connsiteY5" fmla="*/ 0 h 1652572"/>
              <a:gd name="connsiteX6" fmla="*/ 421482 w 1623138"/>
              <a:gd name="connsiteY6" fmla="*/ 321468 h 1652572"/>
              <a:gd name="connsiteX7" fmla="*/ 595313 w 1623138"/>
              <a:gd name="connsiteY7" fmla="*/ 766762 h 1652572"/>
              <a:gd name="connsiteX8" fmla="*/ 923925 w 1623138"/>
              <a:gd name="connsiteY8" fmla="*/ 1007267 h 1652572"/>
              <a:gd name="connsiteX9" fmla="*/ 621506 w 1623138"/>
              <a:gd name="connsiteY9" fmla="*/ 1352547 h 1652572"/>
              <a:gd name="connsiteX10" fmla="*/ 0 w 1623138"/>
              <a:gd name="connsiteY10" fmla="*/ 1119184 h 1652572"/>
              <a:gd name="connsiteX0" fmla="*/ 0 w 1627271"/>
              <a:gd name="connsiteY0" fmla="*/ 1119184 h 1712926"/>
              <a:gd name="connsiteX1" fmla="*/ 0 w 1627271"/>
              <a:gd name="connsiteY1" fmla="*/ 1647822 h 1712926"/>
              <a:gd name="connsiteX2" fmla="*/ 1574006 w 1627271"/>
              <a:gd name="connsiteY2" fmla="*/ 1302541 h 1712926"/>
              <a:gd name="connsiteX3" fmla="*/ 1264443 w 1627271"/>
              <a:gd name="connsiteY3" fmla="*/ 540542 h 1712926"/>
              <a:gd name="connsiteX4" fmla="*/ 835820 w 1627271"/>
              <a:gd name="connsiteY4" fmla="*/ 373856 h 1712926"/>
              <a:gd name="connsiteX5" fmla="*/ 807244 w 1627271"/>
              <a:gd name="connsiteY5" fmla="*/ 0 h 1712926"/>
              <a:gd name="connsiteX6" fmla="*/ 421482 w 1627271"/>
              <a:gd name="connsiteY6" fmla="*/ 321468 h 1712926"/>
              <a:gd name="connsiteX7" fmla="*/ 595313 w 1627271"/>
              <a:gd name="connsiteY7" fmla="*/ 766762 h 1712926"/>
              <a:gd name="connsiteX8" fmla="*/ 923925 w 1627271"/>
              <a:gd name="connsiteY8" fmla="*/ 1007267 h 1712926"/>
              <a:gd name="connsiteX9" fmla="*/ 621506 w 1627271"/>
              <a:gd name="connsiteY9" fmla="*/ 1352547 h 1712926"/>
              <a:gd name="connsiteX10" fmla="*/ 0 w 1627271"/>
              <a:gd name="connsiteY10" fmla="*/ 1119184 h 1712926"/>
              <a:gd name="connsiteX0" fmla="*/ 0 w 1627271"/>
              <a:gd name="connsiteY0" fmla="*/ 1119184 h 1797816"/>
              <a:gd name="connsiteX1" fmla="*/ 0 w 1627271"/>
              <a:gd name="connsiteY1" fmla="*/ 1647822 h 1797816"/>
              <a:gd name="connsiteX2" fmla="*/ 1574006 w 1627271"/>
              <a:gd name="connsiteY2" fmla="*/ 1302541 h 1797816"/>
              <a:gd name="connsiteX3" fmla="*/ 1264443 w 1627271"/>
              <a:gd name="connsiteY3" fmla="*/ 540542 h 1797816"/>
              <a:gd name="connsiteX4" fmla="*/ 835820 w 1627271"/>
              <a:gd name="connsiteY4" fmla="*/ 373856 h 1797816"/>
              <a:gd name="connsiteX5" fmla="*/ 807244 w 1627271"/>
              <a:gd name="connsiteY5" fmla="*/ 0 h 1797816"/>
              <a:gd name="connsiteX6" fmla="*/ 421482 w 1627271"/>
              <a:gd name="connsiteY6" fmla="*/ 321468 h 1797816"/>
              <a:gd name="connsiteX7" fmla="*/ 595313 w 1627271"/>
              <a:gd name="connsiteY7" fmla="*/ 766762 h 1797816"/>
              <a:gd name="connsiteX8" fmla="*/ 923925 w 1627271"/>
              <a:gd name="connsiteY8" fmla="*/ 1007267 h 1797816"/>
              <a:gd name="connsiteX9" fmla="*/ 621506 w 1627271"/>
              <a:gd name="connsiteY9" fmla="*/ 1352547 h 1797816"/>
              <a:gd name="connsiteX10" fmla="*/ 0 w 1627271"/>
              <a:gd name="connsiteY10" fmla="*/ 1119184 h 1797816"/>
              <a:gd name="connsiteX0" fmla="*/ 0 w 1622231"/>
              <a:gd name="connsiteY0" fmla="*/ 1119184 h 1773253"/>
              <a:gd name="connsiteX1" fmla="*/ 0 w 1622231"/>
              <a:gd name="connsiteY1" fmla="*/ 1647822 h 1773253"/>
              <a:gd name="connsiteX2" fmla="*/ 1574006 w 1622231"/>
              <a:gd name="connsiteY2" fmla="*/ 1302541 h 1773253"/>
              <a:gd name="connsiteX3" fmla="*/ 1264443 w 1622231"/>
              <a:gd name="connsiteY3" fmla="*/ 540542 h 1773253"/>
              <a:gd name="connsiteX4" fmla="*/ 835820 w 1622231"/>
              <a:gd name="connsiteY4" fmla="*/ 373856 h 1773253"/>
              <a:gd name="connsiteX5" fmla="*/ 807244 w 1622231"/>
              <a:gd name="connsiteY5" fmla="*/ 0 h 1773253"/>
              <a:gd name="connsiteX6" fmla="*/ 421482 w 1622231"/>
              <a:gd name="connsiteY6" fmla="*/ 321468 h 1773253"/>
              <a:gd name="connsiteX7" fmla="*/ 595313 w 1622231"/>
              <a:gd name="connsiteY7" fmla="*/ 766762 h 1773253"/>
              <a:gd name="connsiteX8" fmla="*/ 923925 w 1622231"/>
              <a:gd name="connsiteY8" fmla="*/ 1007267 h 1773253"/>
              <a:gd name="connsiteX9" fmla="*/ 621506 w 1622231"/>
              <a:gd name="connsiteY9" fmla="*/ 1352547 h 1773253"/>
              <a:gd name="connsiteX10" fmla="*/ 0 w 1622231"/>
              <a:gd name="connsiteY10" fmla="*/ 1119184 h 1773253"/>
              <a:gd name="connsiteX0" fmla="*/ 0 w 1622231"/>
              <a:gd name="connsiteY0" fmla="*/ 1119184 h 1800701"/>
              <a:gd name="connsiteX1" fmla="*/ 0 w 1622231"/>
              <a:gd name="connsiteY1" fmla="*/ 1647822 h 1800701"/>
              <a:gd name="connsiteX2" fmla="*/ 1574006 w 1622231"/>
              <a:gd name="connsiteY2" fmla="*/ 1302541 h 1800701"/>
              <a:gd name="connsiteX3" fmla="*/ 1264443 w 1622231"/>
              <a:gd name="connsiteY3" fmla="*/ 540542 h 1800701"/>
              <a:gd name="connsiteX4" fmla="*/ 835820 w 1622231"/>
              <a:gd name="connsiteY4" fmla="*/ 373856 h 1800701"/>
              <a:gd name="connsiteX5" fmla="*/ 807244 w 1622231"/>
              <a:gd name="connsiteY5" fmla="*/ 0 h 1800701"/>
              <a:gd name="connsiteX6" fmla="*/ 421482 w 1622231"/>
              <a:gd name="connsiteY6" fmla="*/ 321468 h 1800701"/>
              <a:gd name="connsiteX7" fmla="*/ 595313 w 1622231"/>
              <a:gd name="connsiteY7" fmla="*/ 766762 h 1800701"/>
              <a:gd name="connsiteX8" fmla="*/ 923925 w 1622231"/>
              <a:gd name="connsiteY8" fmla="*/ 1007267 h 1800701"/>
              <a:gd name="connsiteX9" fmla="*/ 621506 w 1622231"/>
              <a:gd name="connsiteY9" fmla="*/ 1352547 h 1800701"/>
              <a:gd name="connsiteX10" fmla="*/ 0 w 1622231"/>
              <a:gd name="connsiteY10" fmla="*/ 1119184 h 1800701"/>
              <a:gd name="connsiteX0" fmla="*/ 0 w 1552023"/>
              <a:gd name="connsiteY0" fmla="*/ 1119184 h 1859749"/>
              <a:gd name="connsiteX1" fmla="*/ 0 w 1552023"/>
              <a:gd name="connsiteY1" fmla="*/ 1647822 h 1859749"/>
              <a:gd name="connsiteX2" fmla="*/ 1462087 w 1552023"/>
              <a:gd name="connsiteY2" fmla="*/ 1469229 h 1859749"/>
              <a:gd name="connsiteX3" fmla="*/ 1264443 w 1552023"/>
              <a:gd name="connsiteY3" fmla="*/ 540542 h 1859749"/>
              <a:gd name="connsiteX4" fmla="*/ 835820 w 1552023"/>
              <a:gd name="connsiteY4" fmla="*/ 373856 h 1859749"/>
              <a:gd name="connsiteX5" fmla="*/ 807244 w 1552023"/>
              <a:gd name="connsiteY5" fmla="*/ 0 h 1859749"/>
              <a:gd name="connsiteX6" fmla="*/ 421482 w 1552023"/>
              <a:gd name="connsiteY6" fmla="*/ 321468 h 1859749"/>
              <a:gd name="connsiteX7" fmla="*/ 595313 w 1552023"/>
              <a:gd name="connsiteY7" fmla="*/ 766762 h 1859749"/>
              <a:gd name="connsiteX8" fmla="*/ 923925 w 1552023"/>
              <a:gd name="connsiteY8" fmla="*/ 1007267 h 1859749"/>
              <a:gd name="connsiteX9" fmla="*/ 621506 w 1552023"/>
              <a:gd name="connsiteY9" fmla="*/ 1352547 h 1859749"/>
              <a:gd name="connsiteX10" fmla="*/ 0 w 1552023"/>
              <a:gd name="connsiteY10" fmla="*/ 1119184 h 1859749"/>
              <a:gd name="connsiteX0" fmla="*/ 0 w 1571973"/>
              <a:gd name="connsiteY0" fmla="*/ 1119184 h 1800114"/>
              <a:gd name="connsiteX1" fmla="*/ 0 w 1571973"/>
              <a:gd name="connsiteY1" fmla="*/ 1647822 h 1800114"/>
              <a:gd name="connsiteX2" fmla="*/ 1462087 w 1571973"/>
              <a:gd name="connsiteY2" fmla="*/ 1469229 h 1800114"/>
              <a:gd name="connsiteX3" fmla="*/ 1264443 w 1571973"/>
              <a:gd name="connsiteY3" fmla="*/ 540542 h 1800114"/>
              <a:gd name="connsiteX4" fmla="*/ 835820 w 1571973"/>
              <a:gd name="connsiteY4" fmla="*/ 373856 h 1800114"/>
              <a:gd name="connsiteX5" fmla="*/ 807244 w 1571973"/>
              <a:gd name="connsiteY5" fmla="*/ 0 h 1800114"/>
              <a:gd name="connsiteX6" fmla="*/ 421482 w 1571973"/>
              <a:gd name="connsiteY6" fmla="*/ 321468 h 1800114"/>
              <a:gd name="connsiteX7" fmla="*/ 595313 w 1571973"/>
              <a:gd name="connsiteY7" fmla="*/ 766762 h 1800114"/>
              <a:gd name="connsiteX8" fmla="*/ 923925 w 1571973"/>
              <a:gd name="connsiteY8" fmla="*/ 1007267 h 1800114"/>
              <a:gd name="connsiteX9" fmla="*/ 621506 w 1571973"/>
              <a:gd name="connsiteY9" fmla="*/ 1352547 h 1800114"/>
              <a:gd name="connsiteX10" fmla="*/ 0 w 1571973"/>
              <a:gd name="connsiteY10" fmla="*/ 1119184 h 1800114"/>
              <a:gd name="connsiteX0" fmla="*/ 0 w 1620477"/>
              <a:gd name="connsiteY0" fmla="*/ 1119184 h 1800815"/>
              <a:gd name="connsiteX1" fmla="*/ 0 w 1620477"/>
              <a:gd name="connsiteY1" fmla="*/ 1647822 h 1800815"/>
              <a:gd name="connsiteX2" fmla="*/ 1462087 w 1620477"/>
              <a:gd name="connsiteY2" fmla="*/ 1469229 h 1800815"/>
              <a:gd name="connsiteX3" fmla="*/ 1264443 w 1620477"/>
              <a:gd name="connsiteY3" fmla="*/ 540542 h 1800815"/>
              <a:gd name="connsiteX4" fmla="*/ 835820 w 1620477"/>
              <a:gd name="connsiteY4" fmla="*/ 373856 h 1800815"/>
              <a:gd name="connsiteX5" fmla="*/ 807244 w 1620477"/>
              <a:gd name="connsiteY5" fmla="*/ 0 h 1800815"/>
              <a:gd name="connsiteX6" fmla="*/ 421482 w 1620477"/>
              <a:gd name="connsiteY6" fmla="*/ 321468 h 1800815"/>
              <a:gd name="connsiteX7" fmla="*/ 595313 w 1620477"/>
              <a:gd name="connsiteY7" fmla="*/ 766762 h 1800815"/>
              <a:gd name="connsiteX8" fmla="*/ 923925 w 1620477"/>
              <a:gd name="connsiteY8" fmla="*/ 1007267 h 1800815"/>
              <a:gd name="connsiteX9" fmla="*/ 621506 w 1620477"/>
              <a:gd name="connsiteY9" fmla="*/ 1352547 h 1800815"/>
              <a:gd name="connsiteX10" fmla="*/ 0 w 1620477"/>
              <a:gd name="connsiteY10" fmla="*/ 1119184 h 1800815"/>
              <a:gd name="connsiteX0" fmla="*/ 0 w 1629436"/>
              <a:gd name="connsiteY0" fmla="*/ 1119184 h 1799377"/>
              <a:gd name="connsiteX1" fmla="*/ 0 w 1629436"/>
              <a:gd name="connsiteY1" fmla="*/ 1647822 h 1799377"/>
              <a:gd name="connsiteX2" fmla="*/ 1476374 w 1629436"/>
              <a:gd name="connsiteY2" fmla="*/ 1464467 h 1799377"/>
              <a:gd name="connsiteX3" fmla="*/ 1264443 w 1629436"/>
              <a:gd name="connsiteY3" fmla="*/ 540542 h 1799377"/>
              <a:gd name="connsiteX4" fmla="*/ 835820 w 1629436"/>
              <a:gd name="connsiteY4" fmla="*/ 373856 h 1799377"/>
              <a:gd name="connsiteX5" fmla="*/ 807244 w 1629436"/>
              <a:gd name="connsiteY5" fmla="*/ 0 h 1799377"/>
              <a:gd name="connsiteX6" fmla="*/ 421482 w 1629436"/>
              <a:gd name="connsiteY6" fmla="*/ 321468 h 1799377"/>
              <a:gd name="connsiteX7" fmla="*/ 595313 w 1629436"/>
              <a:gd name="connsiteY7" fmla="*/ 766762 h 1799377"/>
              <a:gd name="connsiteX8" fmla="*/ 923925 w 1629436"/>
              <a:gd name="connsiteY8" fmla="*/ 1007267 h 1799377"/>
              <a:gd name="connsiteX9" fmla="*/ 621506 w 1629436"/>
              <a:gd name="connsiteY9" fmla="*/ 1352547 h 1799377"/>
              <a:gd name="connsiteX10" fmla="*/ 0 w 1629436"/>
              <a:gd name="connsiteY10" fmla="*/ 1119184 h 1799377"/>
              <a:gd name="connsiteX0" fmla="*/ 0 w 1606110"/>
              <a:gd name="connsiteY0" fmla="*/ 1119184 h 1796213"/>
              <a:gd name="connsiteX1" fmla="*/ 0 w 1606110"/>
              <a:gd name="connsiteY1" fmla="*/ 1647822 h 1796213"/>
              <a:gd name="connsiteX2" fmla="*/ 1476374 w 1606110"/>
              <a:gd name="connsiteY2" fmla="*/ 1464467 h 1796213"/>
              <a:gd name="connsiteX3" fmla="*/ 1264443 w 1606110"/>
              <a:gd name="connsiteY3" fmla="*/ 540542 h 1796213"/>
              <a:gd name="connsiteX4" fmla="*/ 835820 w 1606110"/>
              <a:gd name="connsiteY4" fmla="*/ 373856 h 1796213"/>
              <a:gd name="connsiteX5" fmla="*/ 807244 w 1606110"/>
              <a:gd name="connsiteY5" fmla="*/ 0 h 1796213"/>
              <a:gd name="connsiteX6" fmla="*/ 421482 w 1606110"/>
              <a:gd name="connsiteY6" fmla="*/ 321468 h 1796213"/>
              <a:gd name="connsiteX7" fmla="*/ 595313 w 1606110"/>
              <a:gd name="connsiteY7" fmla="*/ 766762 h 1796213"/>
              <a:gd name="connsiteX8" fmla="*/ 923925 w 1606110"/>
              <a:gd name="connsiteY8" fmla="*/ 1007267 h 1796213"/>
              <a:gd name="connsiteX9" fmla="*/ 621506 w 1606110"/>
              <a:gd name="connsiteY9" fmla="*/ 1352547 h 1796213"/>
              <a:gd name="connsiteX10" fmla="*/ 0 w 1606110"/>
              <a:gd name="connsiteY10" fmla="*/ 1119184 h 1796213"/>
              <a:gd name="connsiteX0" fmla="*/ 0 w 1625337"/>
              <a:gd name="connsiteY0" fmla="*/ 1119184 h 1796213"/>
              <a:gd name="connsiteX1" fmla="*/ 0 w 1625337"/>
              <a:gd name="connsiteY1" fmla="*/ 1647822 h 1796213"/>
              <a:gd name="connsiteX2" fmla="*/ 1476374 w 1625337"/>
              <a:gd name="connsiteY2" fmla="*/ 1464467 h 1796213"/>
              <a:gd name="connsiteX3" fmla="*/ 1264443 w 1625337"/>
              <a:gd name="connsiteY3" fmla="*/ 540542 h 1796213"/>
              <a:gd name="connsiteX4" fmla="*/ 835820 w 1625337"/>
              <a:gd name="connsiteY4" fmla="*/ 373856 h 1796213"/>
              <a:gd name="connsiteX5" fmla="*/ 807244 w 1625337"/>
              <a:gd name="connsiteY5" fmla="*/ 0 h 1796213"/>
              <a:gd name="connsiteX6" fmla="*/ 421482 w 1625337"/>
              <a:gd name="connsiteY6" fmla="*/ 321468 h 1796213"/>
              <a:gd name="connsiteX7" fmla="*/ 595313 w 1625337"/>
              <a:gd name="connsiteY7" fmla="*/ 766762 h 1796213"/>
              <a:gd name="connsiteX8" fmla="*/ 923925 w 1625337"/>
              <a:gd name="connsiteY8" fmla="*/ 1007267 h 1796213"/>
              <a:gd name="connsiteX9" fmla="*/ 621506 w 1625337"/>
              <a:gd name="connsiteY9" fmla="*/ 1352547 h 1796213"/>
              <a:gd name="connsiteX10" fmla="*/ 0 w 1625337"/>
              <a:gd name="connsiteY10" fmla="*/ 1119184 h 1796213"/>
              <a:gd name="connsiteX0" fmla="*/ 0 w 1625337"/>
              <a:gd name="connsiteY0" fmla="*/ 1119184 h 1803595"/>
              <a:gd name="connsiteX1" fmla="*/ 0 w 1625337"/>
              <a:gd name="connsiteY1" fmla="*/ 1647822 h 1803595"/>
              <a:gd name="connsiteX2" fmla="*/ 1476374 w 1625337"/>
              <a:gd name="connsiteY2" fmla="*/ 1464467 h 1803595"/>
              <a:gd name="connsiteX3" fmla="*/ 1264443 w 1625337"/>
              <a:gd name="connsiteY3" fmla="*/ 540542 h 1803595"/>
              <a:gd name="connsiteX4" fmla="*/ 835820 w 1625337"/>
              <a:gd name="connsiteY4" fmla="*/ 373856 h 1803595"/>
              <a:gd name="connsiteX5" fmla="*/ 807244 w 1625337"/>
              <a:gd name="connsiteY5" fmla="*/ 0 h 1803595"/>
              <a:gd name="connsiteX6" fmla="*/ 421482 w 1625337"/>
              <a:gd name="connsiteY6" fmla="*/ 321468 h 1803595"/>
              <a:gd name="connsiteX7" fmla="*/ 595313 w 1625337"/>
              <a:gd name="connsiteY7" fmla="*/ 766762 h 1803595"/>
              <a:gd name="connsiteX8" fmla="*/ 923925 w 1625337"/>
              <a:gd name="connsiteY8" fmla="*/ 1007267 h 1803595"/>
              <a:gd name="connsiteX9" fmla="*/ 621506 w 1625337"/>
              <a:gd name="connsiteY9" fmla="*/ 1352547 h 1803595"/>
              <a:gd name="connsiteX10" fmla="*/ 0 w 1625337"/>
              <a:gd name="connsiteY10" fmla="*/ 1119184 h 1803595"/>
              <a:gd name="connsiteX0" fmla="*/ 0 w 1625337"/>
              <a:gd name="connsiteY0" fmla="*/ 1119184 h 1799376"/>
              <a:gd name="connsiteX1" fmla="*/ 0 w 1625337"/>
              <a:gd name="connsiteY1" fmla="*/ 1647822 h 1799376"/>
              <a:gd name="connsiteX2" fmla="*/ 1476374 w 1625337"/>
              <a:gd name="connsiteY2" fmla="*/ 1464467 h 1799376"/>
              <a:gd name="connsiteX3" fmla="*/ 1264443 w 1625337"/>
              <a:gd name="connsiteY3" fmla="*/ 540542 h 1799376"/>
              <a:gd name="connsiteX4" fmla="*/ 835820 w 1625337"/>
              <a:gd name="connsiteY4" fmla="*/ 373856 h 1799376"/>
              <a:gd name="connsiteX5" fmla="*/ 807244 w 1625337"/>
              <a:gd name="connsiteY5" fmla="*/ 0 h 1799376"/>
              <a:gd name="connsiteX6" fmla="*/ 421482 w 1625337"/>
              <a:gd name="connsiteY6" fmla="*/ 321468 h 1799376"/>
              <a:gd name="connsiteX7" fmla="*/ 595313 w 1625337"/>
              <a:gd name="connsiteY7" fmla="*/ 766762 h 1799376"/>
              <a:gd name="connsiteX8" fmla="*/ 923925 w 1625337"/>
              <a:gd name="connsiteY8" fmla="*/ 1007267 h 1799376"/>
              <a:gd name="connsiteX9" fmla="*/ 621506 w 1625337"/>
              <a:gd name="connsiteY9" fmla="*/ 1352547 h 1799376"/>
              <a:gd name="connsiteX10" fmla="*/ 0 w 1625337"/>
              <a:gd name="connsiteY10" fmla="*/ 1119184 h 1799376"/>
              <a:gd name="connsiteX0" fmla="*/ 0 w 1635914"/>
              <a:gd name="connsiteY0" fmla="*/ 1119184 h 1799376"/>
              <a:gd name="connsiteX1" fmla="*/ 0 w 1635914"/>
              <a:gd name="connsiteY1" fmla="*/ 1647822 h 1799376"/>
              <a:gd name="connsiteX2" fmla="*/ 1476374 w 1635914"/>
              <a:gd name="connsiteY2" fmla="*/ 1464467 h 1799376"/>
              <a:gd name="connsiteX3" fmla="*/ 1264443 w 1635914"/>
              <a:gd name="connsiteY3" fmla="*/ 540542 h 1799376"/>
              <a:gd name="connsiteX4" fmla="*/ 835820 w 1635914"/>
              <a:gd name="connsiteY4" fmla="*/ 373856 h 1799376"/>
              <a:gd name="connsiteX5" fmla="*/ 807244 w 1635914"/>
              <a:gd name="connsiteY5" fmla="*/ 0 h 1799376"/>
              <a:gd name="connsiteX6" fmla="*/ 421482 w 1635914"/>
              <a:gd name="connsiteY6" fmla="*/ 321468 h 1799376"/>
              <a:gd name="connsiteX7" fmla="*/ 595313 w 1635914"/>
              <a:gd name="connsiteY7" fmla="*/ 766762 h 1799376"/>
              <a:gd name="connsiteX8" fmla="*/ 923925 w 1635914"/>
              <a:gd name="connsiteY8" fmla="*/ 1007267 h 1799376"/>
              <a:gd name="connsiteX9" fmla="*/ 621506 w 1635914"/>
              <a:gd name="connsiteY9" fmla="*/ 1352547 h 1799376"/>
              <a:gd name="connsiteX10" fmla="*/ 0 w 1635914"/>
              <a:gd name="connsiteY10" fmla="*/ 1119184 h 1799376"/>
              <a:gd name="connsiteX0" fmla="*/ 0 w 1720482"/>
              <a:gd name="connsiteY0" fmla="*/ 1119184 h 1772537"/>
              <a:gd name="connsiteX1" fmla="*/ 0 w 1720482"/>
              <a:gd name="connsiteY1" fmla="*/ 1647822 h 1772537"/>
              <a:gd name="connsiteX2" fmla="*/ 1476374 w 1720482"/>
              <a:gd name="connsiteY2" fmla="*/ 1464467 h 1772537"/>
              <a:gd name="connsiteX3" fmla="*/ 1397793 w 1720482"/>
              <a:gd name="connsiteY3" fmla="*/ 626267 h 1772537"/>
              <a:gd name="connsiteX4" fmla="*/ 835820 w 1720482"/>
              <a:gd name="connsiteY4" fmla="*/ 373856 h 1772537"/>
              <a:gd name="connsiteX5" fmla="*/ 807244 w 1720482"/>
              <a:gd name="connsiteY5" fmla="*/ 0 h 1772537"/>
              <a:gd name="connsiteX6" fmla="*/ 421482 w 1720482"/>
              <a:gd name="connsiteY6" fmla="*/ 321468 h 1772537"/>
              <a:gd name="connsiteX7" fmla="*/ 595313 w 1720482"/>
              <a:gd name="connsiteY7" fmla="*/ 766762 h 1772537"/>
              <a:gd name="connsiteX8" fmla="*/ 923925 w 1720482"/>
              <a:gd name="connsiteY8" fmla="*/ 1007267 h 1772537"/>
              <a:gd name="connsiteX9" fmla="*/ 621506 w 1720482"/>
              <a:gd name="connsiteY9" fmla="*/ 1352547 h 1772537"/>
              <a:gd name="connsiteX10" fmla="*/ 0 w 1720482"/>
              <a:gd name="connsiteY10" fmla="*/ 1119184 h 1772537"/>
              <a:gd name="connsiteX0" fmla="*/ 0 w 1630664"/>
              <a:gd name="connsiteY0" fmla="*/ 1119184 h 1772537"/>
              <a:gd name="connsiteX1" fmla="*/ 0 w 1630664"/>
              <a:gd name="connsiteY1" fmla="*/ 1647822 h 1772537"/>
              <a:gd name="connsiteX2" fmla="*/ 1476374 w 1630664"/>
              <a:gd name="connsiteY2" fmla="*/ 1464467 h 1772537"/>
              <a:gd name="connsiteX3" fmla="*/ 1397793 w 1630664"/>
              <a:gd name="connsiteY3" fmla="*/ 626267 h 1772537"/>
              <a:gd name="connsiteX4" fmla="*/ 835820 w 1630664"/>
              <a:gd name="connsiteY4" fmla="*/ 373856 h 1772537"/>
              <a:gd name="connsiteX5" fmla="*/ 807244 w 1630664"/>
              <a:gd name="connsiteY5" fmla="*/ 0 h 1772537"/>
              <a:gd name="connsiteX6" fmla="*/ 421482 w 1630664"/>
              <a:gd name="connsiteY6" fmla="*/ 321468 h 1772537"/>
              <a:gd name="connsiteX7" fmla="*/ 595313 w 1630664"/>
              <a:gd name="connsiteY7" fmla="*/ 766762 h 1772537"/>
              <a:gd name="connsiteX8" fmla="*/ 923925 w 1630664"/>
              <a:gd name="connsiteY8" fmla="*/ 1007267 h 1772537"/>
              <a:gd name="connsiteX9" fmla="*/ 621506 w 1630664"/>
              <a:gd name="connsiteY9" fmla="*/ 1352547 h 1772537"/>
              <a:gd name="connsiteX10" fmla="*/ 0 w 1630664"/>
              <a:gd name="connsiteY10" fmla="*/ 1119184 h 1772537"/>
              <a:gd name="connsiteX0" fmla="*/ 0 w 1615856"/>
              <a:gd name="connsiteY0" fmla="*/ 1119184 h 1800557"/>
              <a:gd name="connsiteX1" fmla="*/ 0 w 1615856"/>
              <a:gd name="connsiteY1" fmla="*/ 1647822 h 1800557"/>
              <a:gd name="connsiteX2" fmla="*/ 1476374 w 1615856"/>
              <a:gd name="connsiteY2" fmla="*/ 1464467 h 1800557"/>
              <a:gd name="connsiteX3" fmla="*/ 1397793 w 1615856"/>
              <a:gd name="connsiteY3" fmla="*/ 626267 h 1800557"/>
              <a:gd name="connsiteX4" fmla="*/ 835820 w 1615856"/>
              <a:gd name="connsiteY4" fmla="*/ 373856 h 1800557"/>
              <a:gd name="connsiteX5" fmla="*/ 807244 w 1615856"/>
              <a:gd name="connsiteY5" fmla="*/ 0 h 1800557"/>
              <a:gd name="connsiteX6" fmla="*/ 421482 w 1615856"/>
              <a:gd name="connsiteY6" fmla="*/ 321468 h 1800557"/>
              <a:gd name="connsiteX7" fmla="*/ 595313 w 1615856"/>
              <a:gd name="connsiteY7" fmla="*/ 766762 h 1800557"/>
              <a:gd name="connsiteX8" fmla="*/ 923925 w 1615856"/>
              <a:gd name="connsiteY8" fmla="*/ 1007267 h 1800557"/>
              <a:gd name="connsiteX9" fmla="*/ 621506 w 1615856"/>
              <a:gd name="connsiteY9" fmla="*/ 1352547 h 1800557"/>
              <a:gd name="connsiteX10" fmla="*/ 0 w 1615856"/>
              <a:gd name="connsiteY10" fmla="*/ 1119184 h 1800557"/>
              <a:gd name="connsiteX0" fmla="*/ 0 w 1626496"/>
              <a:gd name="connsiteY0" fmla="*/ 1119184 h 1800277"/>
              <a:gd name="connsiteX1" fmla="*/ 0 w 1626496"/>
              <a:gd name="connsiteY1" fmla="*/ 1647822 h 1800277"/>
              <a:gd name="connsiteX2" fmla="*/ 1476374 w 1626496"/>
              <a:gd name="connsiteY2" fmla="*/ 1464467 h 1800277"/>
              <a:gd name="connsiteX3" fmla="*/ 1397793 w 1626496"/>
              <a:gd name="connsiteY3" fmla="*/ 626267 h 1800277"/>
              <a:gd name="connsiteX4" fmla="*/ 835820 w 1626496"/>
              <a:gd name="connsiteY4" fmla="*/ 373856 h 1800277"/>
              <a:gd name="connsiteX5" fmla="*/ 807244 w 1626496"/>
              <a:gd name="connsiteY5" fmla="*/ 0 h 1800277"/>
              <a:gd name="connsiteX6" fmla="*/ 421482 w 1626496"/>
              <a:gd name="connsiteY6" fmla="*/ 321468 h 1800277"/>
              <a:gd name="connsiteX7" fmla="*/ 595313 w 1626496"/>
              <a:gd name="connsiteY7" fmla="*/ 766762 h 1800277"/>
              <a:gd name="connsiteX8" fmla="*/ 923925 w 1626496"/>
              <a:gd name="connsiteY8" fmla="*/ 1007267 h 1800277"/>
              <a:gd name="connsiteX9" fmla="*/ 621506 w 1626496"/>
              <a:gd name="connsiteY9" fmla="*/ 1352547 h 1800277"/>
              <a:gd name="connsiteX10" fmla="*/ 0 w 1626496"/>
              <a:gd name="connsiteY10" fmla="*/ 1119184 h 1800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626496" h="1800277">
                <a:moveTo>
                  <a:pt x="0" y="1119184"/>
                </a:moveTo>
                <a:lnTo>
                  <a:pt x="0" y="1647822"/>
                </a:lnTo>
                <a:cubicBezTo>
                  <a:pt x="686196" y="1947462"/>
                  <a:pt x="1196953" y="1762179"/>
                  <a:pt x="1476374" y="1464467"/>
                </a:cubicBezTo>
                <a:cubicBezTo>
                  <a:pt x="1699180" y="1227076"/>
                  <a:pt x="1674781" y="817990"/>
                  <a:pt x="1397793" y="626267"/>
                </a:cubicBezTo>
                <a:cubicBezTo>
                  <a:pt x="1228944" y="509394"/>
                  <a:pt x="1023144" y="457993"/>
                  <a:pt x="835820" y="373856"/>
                </a:cubicBezTo>
                <a:cubicBezTo>
                  <a:pt x="676275" y="325437"/>
                  <a:pt x="542926" y="112711"/>
                  <a:pt x="807244" y="0"/>
                </a:cubicBezTo>
                <a:cubicBezTo>
                  <a:pt x="507207" y="50006"/>
                  <a:pt x="440530" y="235745"/>
                  <a:pt x="421482" y="321468"/>
                </a:cubicBezTo>
                <a:cubicBezTo>
                  <a:pt x="362745" y="574674"/>
                  <a:pt x="546894" y="723107"/>
                  <a:pt x="595313" y="766762"/>
                </a:cubicBezTo>
                <a:cubicBezTo>
                  <a:pt x="664369" y="835024"/>
                  <a:pt x="857250" y="884236"/>
                  <a:pt x="923925" y="1007267"/>
                </a:cubicBezTo>
                <a:cubicBezTo>
                  <a:pt x="992188" y="1158079"/>
                  <a:pt x="883541" y="1334500"/>
                  <a:pt x="621506" y="1352547"/>
                </a:cubicBezTo>
                <a:cubicBezTo>
                  <a:pt x="455755" y="1363963"/>
                  <a:pt x="205977" y="1265235"/>
                  <a:pt x="0" y="1119184"/>
                </a:cubicBezTo>
                <a:close/>
              </a:path>
            </a:pathLst>
          </a:custGeom>
          <a:solidFill>
            <a:srgbClr val="0F238D"/>
          </a:solidFill>
          <a:ln w="127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sp>
        <p:nvSpPr>
          <p:cNvPr id="35" name="Freeform 34"/>
          <p:cNvSpPr/>
          <p:nvPr userDrawn="1"/>
        </p:nvSpPr>
        <p:spPr>
          <a:xfrm>
            <a:off x="8504651" y="159540"/>
            <a:ext cx="118940" cy="68882"/>
          </a:xfrm>
          <a:custGeom>
            <a:avLst/>
            <a:gdLst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13690"/>
              <a:gd name="connsiteY0" fmla="*/ 635794 h 788194"/>
              <a:gd name="connsiteX1" fmla="*/ 1402556 w 1413690"/>
              <a:gd name="connsiteY1" fmla="*/ 64294 h 788194"/>
              <a:gd name="connsiteX2" fmla="*/ 547687 w 1413690"/>
              <a:gd name="connsiteY2" fmla="*/ 0 h 788194"/>
              <a:gd name="connsiteX3" fmla="*/ 14287 w 1413690"/>
              <a:gd name="connsiteY3" fmla="*/ 469106 h 788194"/>
              <a:gd name="connsiteX4" fmla="*/ 0 w 1413690"/>
              <a:gd name="connsiteY4" fmla="*/ 788194 h 788194"/>
              <a:gd name="connsiteX5" fmla="*/ 283368 w 1413690"/>
              <a:gd name="connsiteY5" fmla="*/ 438150 h 788194"/>
              <a:gd name="connsiteX6" fmla="*/ 821531 w 1413690"/>
              <a:gd name="connsiteY6" fmla="*/ 371475 h 788194"/>
              <a:gd name="connsiteX7" fmla="*/ 1404937 w 1413690"/>
              <a:gd name="connsiteY7" fmla="*/ 635794 h 788194"/>
              <a:gd name="connsiteX0" fmla="*/ 1404937 w 1417413"/>
              <a:gd name="connsiteY0" fmla="*/ 635794 h 788194"/>
              <a:gd name="connsiteX1" fmla="*/ 1402556 w 1417413"/>
              <a:gd name="connsiteY1" fmla="*/ 64294 h 788194"/>
              <a:gd name="connsiteX2" fmla="*/ 547687 w 1417413"/>
              <a:gd name="connsiteY2" fmla="*/ 0 h 788194"/>
              <a:gd name="connsiteX3" fmla="*/ 14287 w 1417413"/>
              <a:gd name="connsiteY3" fmla="*/ 469106 h 788194"/>
              <a:gd name="connsiteX4" fmla="*/ 0 w 1417413"/>
              <a:gd name="connsiteY4" fmla="*/ 788194 h 788194"/>
              <a:gd name="connsiteX5" fmla="*/ 283368 w 1417413"/>
              <a:gd name="connsiteY5" fmla="*/ 438150 h 788194"/>
              <a:gd name="connsiteX6" fmla="*/ 821531 w 1417413"/>
              <a:gd name="connsiteY6" fmla="*/ 371475 h 788194"/>
              <a:gd name="connsiteX7" fmla="*/ 1404937 w 1417413"/>
              <a:gd name="connsiteY7" fmla="*/ 635794 h 788194"/>
              <a:gd name="connsiteX0" fmla="*/ 1404937 w 1417413"/>
              <a:gd name="connsiteY0" fmla="*/ 636458 h 788858"/>
              <a:gd name="connsiteX1" fmla="*/ 1402556 w 1417413"/>
              <a:gd name="connsiteY1" fmla="*/ 64958 h 788858"/>
              <a:gd name="connsiteX2" fmla="*/ 547687 w 1417413"/>
              <a:gd name="connsiteY2" fmla="*/ 664 h 788858"/>
              <a:gd name="connsiteX3" fmla="*/ 14287 w 1417413"/>
              <a:gd name="connsiteY3" fmla="*/ 469770 h 788858"/>
              <a:gd name="connsiteX4" fmla="*/ 0 w 1417413"/>
              <a:gd name="connsiteY4" fmla="*/ 788858 h 788858"/>
              <a:gd name="connsiteX5" fmla="*/ 283368 w 1417413"/>
              <a:gd name="connsiteY5" fmla="*/ 438814 h 788858"/>
              <a:gd name="connsiteX6" fmla="*/ 821531 w 1417413"/>
              <a:gd name="connsiteY6" fmla="*/ 372139 h 788858"/>
              <a:gd name="connsiteX7" fmla="*/ 1404937 w 1417413"/>
              <a:gd name="connsiteY7" fmla="*/ 636458 h 788858"/>
              <a:gd name="connsiteX0" fmla="*/ 1404937 w 1417413"/>
              <a:gd name="connsiteY0" fmla="*/ 659983 h 812383"/>
              <a:gd name="connsiteX1" fmla="*/ 1402556 w 1417413"/>
              <a:gd name="connsiteY1" fmla="*/ 88483 h 812383"/>
              <a:gd name="connsiteX2" fmla="*/ 547687 w 1417413"/>
              <a:gd name="connsiteY2" fmla="*/ 24189 h 812383"/>
              <a:gd name="connsiteX3" fmla="*/ 14287 w 1417413"/>
              <a:gd name="connsiteY3" fmla="*/ 493295 h 812383"/>
              <a:gd name="connsiteX4" fmla="*/ 0 w 1417413"/>
              <a:gd name="connsiteY4" fmla="*/ 812383 h 812383"/>
              <a:gd name="connsiteX5" fmla="*/ 283368 w 1417413"/>
              <a:gd name="connsiteY5" fmla="*/ 462339 h 812383"/>
              <a:gd name="connsiteX6" fmla="*/ 821531 w 1417413"/>
              <a:gd name="connsiteY6" fmla="*/ 395664 h 812383"/>
              <a:gd name="connsiteX7" fmla="*/ 1404937 w 1417413"/>
              <a:gd name="connsiteY7" fmla="*/ 659983 h 812383"/>
              <a:gd name="connsiteX0" fmla="*/ 1404937 w 1417413"/>
              <a:gd name="connsiteY0" fmla="*/ 674932 h 827332"/>
              <a:gd name="connsiteX1" fmla="*/ 1402556 w 1417413"/>
              <a:gd name="connsiteY1" fmla="*/ 103432 h 827332"/>
              <a:gd name="connsiteX2" fmla="*/ 547687 w 1417413"/>
              <a:gd name="connsiteY2" fmla="*/ 39138 h 827332"/>
              <a:gd name="connsiteX3" fmla="*/ 14287 w 1417413"/>
              <a:gd name="connsiteY3" fmla="*/ 508244 h 827332"/>
              <a:gd name="connsiteX4" fmla="*/ 0 w 1417413"/>
              <a:gd name="connsiteY4" fmla="*/ 827332 h 827332"/>
              <a:gd name="connsiteX5" fmla="*/ 283368 w 1417413"/>
              <a:gd name="connsiteY5" fmla="*/ 477288 h 827332"/>
              <a:gd name="connsiteX6" fmla="*/ 821531 w 1417413"/>
              <a:gd name="connsiteY6" fmla="*/ 410613 h 827332"/>
              <a:gd name="connsiteX7" fmla="*/ 1404937 w 1417413"/>
              <a:gd name="connsiteY7" fmla="*/ 674932 h 827332"/>
              <a:gd name="connsiteX0" fmla="*/ 1404937 w 1417413"/>
              <a:gd name="connsiteY0" fmla="*/ 674932 h 827332"/>
              <a:gd name="connsiteX1" fmla="*/ 1402556 w 1417413"/>
              <a:gd name="connsiteY1" fmla="*/ 103432 h 827332"/>
              <a:gd name="connsiteX2" fmla="*/ 547687 w 1417413"/>
              <a:gd name="connsiteY2" fmla="*/ 39138 h 827332"/>
              <a:gd name="connsiteX3" fmla="*/ 14287 w 1417413"/>
              <a:gd name="connsiteY3" fmla="*/ 508244 h 827332"/>
              <a:gd name="connsiteX4" fmla="*/ 0 w 1417413"/>
              <a:gd name="connsiteY4" fmla="*/ 827332 h 827332"/>
              <a:gd name="connsiteX5" fmla="*/ 283368 w 1417413"/>
              <a:gd name="connsiteY5" fmla="*/ 477288 h 827332"/>
              <a:gd name="connsiteX6" fmla="*/ 821531 w 1417413"/>
              <a:gd name="connsiteY6" fmla="*/ 410613 h 827332"/>
              <a:gd name="connsiteX7" fmla="*/ 1404937 w 1417413"/>
              <a:gd name="connsiteY7" fmla="*/ 674932 h 827332"/>
              <a:gd name="connsiteX0" fmla="*/ 1406804 w 1419280"/>
              <a:gd name="connsiteY0" fmla="*/ 674932 h 827332"/>
              <a:gd name="connsiteX1" fmla="*/ 1404423 w 1419280"/>
              <a:gd name="connsiteY1" fmla="*/ 103432 h 827332"/>
              <a:gd name="connsiteX2" fmla="*/ 549554 w 1419280"/>
              <a:gd name="connsiteY2" fmla="*/ 39138 h 827332"/>
              <a:gd name="connsiteX3" fmla="*/ 16154 w 1419280"/>
              <a:gd name="connsiteY3" fmla="*/ 508244 h 827332"/>
              <a:gd name="connsiteX4" fmla="*/ 1867 w 1419280"/>
              <a:gd name="connsiteY4" fmla="*/ 827332 h 827332"/>
              <a:gd name="connsiteX5" fmla="*/ 285235 w 1419280"/>
              <a:gd name="connsiteY5" fmla="*/ 477288 h 827332"/>
              <a:gd name="connsiteX6" fmla="*/ 823398 w 1419280"/>
              <a:gd name="connsiteY6" fmla="*/ 410613 h 827332"/>
              <a:gd name="connsiteX7" fmla="*/ 1406804 w 1419280"/>
              <a:gd name="connsiteY7" fmla="*/ 674932 h 827332"/>
              <a:gd name="connsiteX0" fmla="*/ 1409119 w 1421595"/>
              <a:gd name="connsiteY0" fmla="*/ 674932 h 827332"/>
              <a:gd name="connsiteX1" fmla="*/ 1406738 w 1421595"/>
              <a:gd name="connsiteY1" fmla="*/ 103432 h 827332"/>
              <a:gd name="connsiteX2" fmla="*/ 551869 w 1421595"/>
              <a:gd name="connsiteY2" fmla="*/ 39138 h 827332"/>
              <a:gd name="connsiteX3" fmla="*/ 18469 w 1421595"/>
              <a:gd name="connsiteY3" fmla="*/ 508244 h 827332"/>
              <a:gd name="connsiteX4" fmla="*/ 4182 w 1421595"/>
              <a:gd name="connsiteY4" fmla="*/ 827332 h 827332"/>
              <a:gd name="connsiteX5" fmla="*/ 287550 w 1421595"/>
              <a:gd name="connsiteY5" fmla="*/ 477288 h 827332"/>
              <a:gd name="connsiteX6" fmla="*/ 825713 w 1421595"/>
              <a:gd name="connsiteY6" fmla="*/ 410613 h 827332"/>
              <a:gd name="connsiteX7" fmla="*/ 1409119 w 1421595"/>
              <a:gd name="connsiteY7" fmla="*/ 674932 h 827332"/>
              <a:gd name="connsiteX0" fmla="*/ 1417088 w 1429564"/>
              <a:gd name="connsiteY0" fmla="*/ 674932 h 827332"/>
              <a:gd name="connsiteX1" fmla="*/ 1414707 w 1429564"/>
              <a:gd name="connsiteY1" fmla="*/ 103432 h 827332"/>
              <a:gd name="connsiteX2" fmla="*/ 559838 w 1429564"/>
              <a:gd name="connsiteY2" fmla="*/ 39138 h 827332"/>
              <a:gd name="connsiteX3" fmla="*/ 26438 w 1429564"/>
              <a:gd name="connsiteY3" fmla="*/ 508244 h 827332"/>
              <a:gd name="connsiteX4" fmla="*/ 12151 w 1429564"/>
              <a:gd name="connsiteY4" fmla="*/ 827332 h 827332"/>
              <a:gd name="connsiteX5" fmla="*/ 295519 w 1429564"/>
              <a:gd name="connsiteY5" fmla="*/ 477288 h 827332"/>
              <a:gd name="connsiteX6" fmla="*/ 833682 w 1429564"/>
              <a:gd name="connsiteY6" fmla="*/ 410613 h 827332"/>
              <a:gd name="connsiteX7" fmla="*/ 1417088 w 1429564"/>
              <a:gd name="connsiteY7" fmla="*/ 674932 h 827332"/>
              <a:gd name="connsiteX0" fmla="*/ 1417088 w 1429564"/>
              <a:gd name="connsiteY0" fmla="*/ 674932 h 827332"/>
              <a:gd name="connsiteX1" fmla="*/ 1414707 w 1429564"/>
              <a:gd name="connsiteY1" fmla="*/ 103432 h 827332"/>
              <a:gd name="connsiteX2" fmla="*/ 559838 w 1429564"/>
              <a:gd name="connsiteY2" fmla="*/ 39138 h 827332"/>
              <a:gd name="connsiteX3" fmla="*/ 26438 w 1429564"/>
              <a:gd name="connsiteY3" fmla="*/ 508244 h 827332"/>
              <a:gd name="connsiteX4" fmla="*/ 12151 w 1429564"/>
              <a:gd name="connsiteY4" fmla="*/ 827332 h 827332"/>
              <a:gd name="connsiteX5" fmla="*/ 295519 w 1429564"/>
              <a:gd name="connsiteY5" fmla="*/ 477288 h 827332"/>
              <a:gd name="connsiteX6" fmla="*/ 833682 w 1429564"/>
              <a:gd name="connsiteY6" fmla="*/ 410613 h 827332"/>
              <a:gd name="connsiteX7" fmla="*/ 1417088 w 1429564"/>
              <a:gd name="connsiteY7" fmla="*/ 674932 h 827332"/>
              <a:gd name="connsiteX0" fmla="*/ 1417088 w 1428573"/>
              <a:gd name="connsiteY0" fmla="*/ 674932 h 827332"/>
              <a:gd name="connsiteX1" fmla="*/ 1414707 w 1428573"/>
              <a:gd name="connsiteY1" fmla="*/ 103432 h 827332"/>
              <a:gd name="connsiteX2" fmla="*/ 559838 w 1428573"/>
              <a:gd name="connsiteY2" fmla="*/ 39138 h 827332"/>
              <a:gd name="connsiteX3" fmla="*/ 26438 w 1428573"/>
              <a:gd name="connsiteY3" fmla="*/ 508244 h 827332"/>
              <a:gd name="connsiteX4" fmla="*/ 12151 w 1428573"/>
              <a:gd name="connsiteY4" fmla="*/ 827332 h 827332"/>
              <a:gd name="connsiteX5" fmla="*/ 295519 w 1428573"/>
              <a:gd name="connsiteY5" fmla="*/ 477288 h 827332"/>
              <a:gd name="connsiteX6" fmla="*/ 833682 w 1428573"/>
              <a:gd name="connsiteY6" fmla="*/ 410613 h 827332"/>
              <a:gd name="connsiteX7" fmla="*/ 1417088 w 1428573"/>
              <a:gd name="connsiteY7" fmla="*/ 674932 h 827332"/>
              <a:gd name="connsiteX0" fmla="*/ 1417088 w 1428573"/>
              <a:gd name="connsiteY0" fmla="*/ 674932 h 827332"/>
              <a:gd name="connsiteX1" fmla="*/ 1414707 w 1428573"/>
              <a:gd name="connsiteY1" fmla="*/ 103432 h 827332"/>
              <a:gd name="connsiteX2" fmla="*/ 559838 w 1428573"/>
              <a:gd name="connsiteY2" fmla="*/ 39138 h 827332"/>
              <a:gd name="connsiteX3" fmla="*/ 26438 w 1428573"/>
              <a:gd name="connsiteY3" fmla="*/ 508244 h 827332"/>
              <a:gd name="connsiteX4" fmla="*/ 12151 w 1428573"/>
              <a:gd name="connsiteY4" fmla="*/ 827332 h 827332"/>
              <a:gd name="connsiteX5" fmla="*/ 295519 w 1428573"/>
              <a:gd name="connsiteY5" fmla="*/ 477288 h 827332"/>
              <a:gd name="connsiteX6" fmla="*/ 833682 w 1428573"/>
              <a:gd name="connsiteY6" fmla="*/ 410613 h 827332"/>
              <a:gd name="connsiteX7" fmla="*/ 1417088 w 1428573"/>
              <a:gd name="connsiteY7" fmla="*/ 674932 h 827332"/>
              <a:gd name="connsiteX0" fmla="*/ 1420075 w 1431560"/>
              <a:gd name="connsiteY0" fmla="*/ 674932 h 827332"/>
              <a:gd name="connsiteX1" fmla="*/ 1417694 w 1431560"/>
              <a:gd name="connsiteY1" fmla="*/ 103432 h 827332"/>
              <a:gd name="connsiteX2" fmla="*/ 562825 w 1431560"/>
              <a:gd name="connsiteY2" fmla="*/ 39138 h 827332"/>
              <a:gd name="connsiteX3" fmla="*/ 29425 w 1431560"/>
              <a:gd name="connsiteY3" fmla="*/ 508244 h 827332"/>
              <a:gd name="connsiteX4" fmla="*/ 15138 w 1431560"/>
              <a:gd name="connsiteY4" fmla="*/ 827332 h 827332"/>
              <a:gd name="connsiteX5" fmla="*/ 298506 w 1431560"/>
              <a:gd name="connsiteY5" fmla="*/ 477288 h 827332"/>
              <a:gd name="connsiteX6" fmla="*/ 836669 w 1431560"/>
              <a:gd name="connsiteY6" fmla="*/ 410613 h 827332"/>
              <a:gd name="connsiteX7" fmla="*/ 1420075 w 1431560"/>
              <a:gd name="connsiteY7" fmla="*/ 674932 h 827332"/>
              <a:gd name="connsiteX0" fmla="*/ 1420075 w 1431560"/>
              <a:gd name="connsiteY0" fmla="*/ 674932 h 827332"/>
              <a:gd name="connsiteX1" fmla="*/ 1417694 w 1431560"/>
              <a:gd name="connsiteY1" fmla="*/ 103432 h 827332"/>
              <a:gd name="connsiteX2" fmla="*/ 562825 w 1431560"/>
              <a:gd name="connsiteY2" fmla="*/ 39138 h 827332"/>
              <a:gd name="connsiteX3" fmla="*/ 29425 w 1431560"/>
              <a:gd name="connsiteY3" fmla="*/ 508244 h 827332"/>
              <a:gd name="connsiteX4" fmla="*/ 15138 w 1431560"/>
              <a:gd name="connsiteY4" fmla="*/ 827332 h 827332"/>
              <a:gd name="connsiteX5" fmla="*/ 298506 w 1431560"/>
              <a:gd name="connsiteY5" fmla="*/ 477288 h 827332"/>
              <a:gd name="connsiteX6" fmla="*/ 836669 w 1431560"/>
              <a:gd name="connsiteY6" fmla="*/ 410613 h 827332"/>
              <a:gd name="connsiteX7" fmla="*/ 1420075 w 1431560"/>
              <a:gd name="connsiteY7" fmla="*/ 674932 h 827332"/>
              <a:gd name="connsiteX0" fmla="*/ 1417089 w 1428574"/>
              <a:gd name="connsiteY0" fmla="*/ 674932 h 827332"/>
              <a:gd name="connsiteX1" fmla="*/ 1414708 w 1428574"/>
              <a:gd name="connsiteY1" fmla="*/ 103432 h 827332"/>
              <a:gd name="connsiteX2" fmla="*/ 559839 w 1428574"/>
              <a:gd name="connsiteY2" fmla="*/ 39138 h 827332"/>
              <a:gd name="connsiteX3" fmla="*/ 26439 w 1428574"/>
              <a:gd name="connsiteY3" fmla="*/ 508244 h 827332"/>
              <a:gd name="connsiteX4" fmla="*/ 12152 w 1428574"/>
              <a:gd name="connsiteY4" fmla="*/ 827332 h 827332"/>
              <a:gd name="connsiteX5" fmla="*/ 295520 w 1428574"/>
              <a:gd name="connsiteY5" fmla="*/ 477288 h 827332"/>
              <a:gd name="connsiteX6" fmla="*/ 833683 w 1428574"/>
              <a:gd name="connsiteY6" fmla="*/ 410613 h 827332"/>
              <a:gd name="connsiteX7" fmla="*/ 1417089 w 1428574"/>
              <a:gd name="connsiteY7" fmla="*/ 674932 h 827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28574" h="827332">
                <a:moveTo>
                  <a:pt x="1417089" y="674932"/>
                </a:moveTo>
                <a:cubicBezTo>
                  <a:pt x="1435346" y="448714"/>
                  <a:pt x="1429789" y="289169"/>
                  <a:pt x="1414708" y="103432"/>
                </a:cubicBezTo>
                <a:cubicBezTo>
                  <a:pt x="1129752" y="1038"/>
                  <a:pt x="880514" y="-34681"/>
                  <a:pt x="559839" y="39138"/>
                </a:cubicBezTo>
                <a:cubicBezTo>
                  <a:pt x="324968" y="93205"/>
                  <a:pt x="103590" y="255487"/>
                  <a:pt x="26439" y="508244"/>
                </a:cubicBezTo>
                <a:cubicBezTo>
                  <a:pt x="-7732" y="620193"/>
                  <a:pt x="-4518" y="728112"/>
                  <a:pt x="12152" y="827332"/>
                </a:cubicBezTo>
                <a:cubicBezTo>
                  <a:pt x="28424" y="650723"/>
                  <a:pt x="130471" y="560134"/>
                  <a:pt x="295520" y="477288"/>
                </a:cubicBezTo>
                <a:cubicBezTo>
                  <a:pt x="460084" y="394686"/>
                  <a:pt x="654458" y="387116"/>
                  <a:pt x="833683" y="410613"/>
                </a:cubicBezTo>
                <a:cubicBezTo>
                  <a:pt x="1142452" y="451094"/>
                  <a:pt x="1298820" y="584445"/>
                  <a:pt x="1417089" y="674932"/>
                </a:cubicBezTo>
                <a:close/>
              </a:path>
            </a:pathLst>
          </a:custGeom>
          <a:solidFill>
            <a:srgbClr val="0F238D"/>
          </a:solidFill>
          <a:ln w="127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sp>
        <p:nvSpPr>
          <p:cNvPr id="19" name="Date Placeholder 3"/>
          <p:cNvSpPr>
            <a:spLocks noGrp="1"/>
          </p:cNvSpPr>
          <p:nvPr userDrawn="1">
            <p:ph type="dt" sz="half" idx="10"/>
          </p:nvPr>
        </p:nvSpPr>
        <p:spPr>
          <a:xfrm>
            <a:off x="8252230" y="862398"/>
            <a:ext cx="751973" cy="9144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algn="r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fld id="{C19E589B-AAA2-4E83-AFD3-2993C58A57EE}" type="datetime3">
              <a:rPr lang="en-US" smtClean="0"/>
              <a:pPr/>
              <a:t>1 May 2019</a:t>
            </a:fld>
            <a:endParaRPr lang="en-US" dirty="0"/>
          </a:p>
        </p:txBody>
      </p:sp>
      <p:sp>
        <p:nvSpPr>
          <p:cNvPr id="20" name="Footer Placeholder 4"/>
          <p:cNvSpPr>
            <a:spLocks noGrp="1"/>
          </p:cNvSpPr>
          <p:nvPr userDrawn="1">
            <p:ph type="ftr" sz="quarter" idx="12"/>
          </p:nvPr>
        </p:nvSpPr>
        <p:spPr>
          <a:xfrm>
            <a:off x="8252229" y="563395"/>
            <a:ext cx="751973" cy="9144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21" name="Slide Number Placeholder 5"/>
          <p:cNvSpPr>
            <a:spLocks noGrp="1"/>
          </p:cNvSpPr>
          <p:nvPr userDrawn="1">
            <p:ph type="sldNum" sz="quarter" idx="13"/>
          </p:nvPr>
        </p:nvSpPr>
        <p:spPr>
          <a:xfrm>
            <a:off x="8252230" y="733787"/>
            <a:ext cx="751249" cy="9144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Slide </a:t>
            </a:r>
            <a:fld id="{2BF23E3A-8558-42B9-AEEE-59D910584A16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40005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99568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ML 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1463040" y="1463040"/>
            <a:ext cx="6634068" cy="3166110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800">
                <a:solidFill>
                  <a:schemeClr val="tx2"/>
                </a:solidFill>
              </a:defRPr>
            </a:lvl1pPr>
            <a:lvl2pPr marL="230188" indent="-230188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tabLst/>
              <a:defRPr sz="2400">
                <a:solidFill>
                  <a:schemeClr val="tx2"/>
                </a:solidFill>
              </a:defRPr>
            </a:lvl2pPr>
            <a:lvl3pPr marL="741363" indent="-173038">
              <a:spcBef>
                <a:spcPts val="0"/>
              </a:spcBef>
              <a:spcAft>
                <a:spcPts val="600"/>
              </a:spcAft>
              <a:defRPr sz="2800">
                <a:solidFill>
                  <a:schemeClr val="tx2"/>
                </a:solidFill>
              </a:defRPr>
            </a:lvl3pPr>
          </a:lstStyle>
          <a:p>
            <a:pPr lvl="1"/>
            <a:r>
              <a:rPr lang="en-US" noProof="0"/>
              <a:t>Agenda item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1097280" y="1069848"/>
            <a:ext cx="2362200" cy="28270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noProof="0"/>
              <a:t>Agenda</a:t>
            </a:r>
          </a:p>
        </p:txBody>
      </p:sp>
      <p:sp>
        <p:nvSpPr>
          <p:cNvPr id="11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8251200" y="774000"/>
            <a:ext cx="7524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ts val="700"/>
              </a:lnSpc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&lt;Date&gt;</a:t>
            </a:r>
          </a:p>
        </p:txBody>
      </p:sp>
      <p:sp>
        <p:nvSpPr>
          <p:cNvPr id="12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8251200" y="644400"/>
            <a:ext cx="7524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ts val="800"/>
              </a:lnSpc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Slide </a:t>
            </a:r>
            <a:fld id="{1D9B13CD-33A0-446D-8703-F89F9F109F54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5108189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ML Fig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2"/>
          <p:cNvSpPr>
            <a:spLocks noGrp="1"/>
          </p:cNvSpPr>
          <p:nvPr>
            <p:ph sz="quarter" idx="11"/>
          </p:nvPr>
        </p:nvSpPr>
        <p:spPr>
          <a:xfrm>
            <a:off x="457200" y="864000"/>
            <a:ext cx="7610400" cy="3960000"/>
          </a:xfrm>
          <a:prstGeom prst="rect">
            <a:avLst/>
          </a:prstGeom>
          <a:effectLst>
            <a:reflection blurRad="6350" stA="52000" endA="300" endPos="35000" dir="5400000" sy="-100000" algn="bl" rotWithShape="0"/>
          </a:effectLst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9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8251200" y="774000"/>
            <a:ext cx="7524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ts val="700"/>
              </a:lnSpc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&lt;Date&gt;</a:t>
            </a:r>
          </a:p>
        </p:txBody>
      </p:sp>
      <p:sp>
        <p:nvSpPr>
          <p:cNvPr id="20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8251200" y="644400"/>
            <a:ext cx="7524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ts val="800"/>
              </a:lnSpc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Slide </a:t>
            </a:r>
            <a:fld id="{1D9B13CD-33A0-446D-8703-F89F9F109F5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2" name="Title 5"/>
          <p:cNvSpPr>
            <a:spLocks noGrp="1"/>
          </p:cNvSpPr>
          <p:nvPr>
            <p:ph type="title" hasCustomPrompt="1"/>
          </p:nvPr>
        </p:nvSpPr>
        <p:spPr>
          <a:xfrm>
            <a:off x="457200" y="108000"/>
            <a:ext cx="7610400" cy="3312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ext title, Arial 24pt dark blue</a:t>
            </a:r>
          </a:p>
        </p:txBody>
      </p:sp>
      <p:sp>
        <p:nvSpPr>
          <p:cNvPr id="7" name="Tijdelijke aanduiding voor tekst 7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486001"/>
            <a:ext cx="7610400" cy="37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nl-NL"/>
              <a:t>Sub </a:t>
            </a:r>
            <a:r>
              <a:rPr lang="nl-NL" err="1"/>
              <a:t>title</a:t>
            </a:r>
            <a:r>
              <a:rPr lang="nl-NL"/>
              <a:t>, </a:t>
            </a:r>
            <a:r>
              <a:rPr lang="nl-NL" err="1"/>
              <a:t>Arial</a:t>
            </a:r>
            <a:r>
              <a:rPr lang="nl-NL"/>
              <a:t> 18pt </a:t>
            </a:r>
            <a:r>
              <a:rPr lang="nl-NL" err="1"/>
              <a:t>dark</a:t>
            </a:r>
            <a:r>
              <a:rPr lang="nl-NL"/>
              <a:t> blue</a:t>
            </a:r>
          </a:p>
        </p:txBody>
      </p:sp>
    </p:spTree>
    <p:extLst>
      <p:ext uri="{BB962C8B-B14F-4D97-AF65-F5344CB8AC3E}">
        <p14:creationId xmlns:p14="http://schemas.microsoft.com/office/powerpoint/2010/main" val="25052895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ML Picture backgrou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367646" y="1"/>
            <a:ext cx="7788802" cy="5148072"/>
          </a:xfrm>
          <a:prstGeom prst="rect">
            <a:avLst/>
          </a:prstGeom>
          <a:noFill/>
          <a:effectLst/>
        </p:spPr>
        <p:txBody>
          <a:bodyPr wrap="none" lIns="0" tIns="0" rIns="0" bIns="0" anchor="ctr" anchorCtr="0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6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8251200" y="774000"/>
            <a:ext cx="7524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ts val="700"/>
              </a:lnSpc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&lt;Date&gt;</a:t>
            </a:r>
          </a:p>
        </p:txBody>
      </p:sp>
      <p:sp>
        <p:nvSpPr>
          <p:cNvPr id="18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8251200" y="644400"/>
            <a:ext cx="7524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ts val="800"/>
              </a:lnSpc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Slide </a:t>
            </a:r>
            <a:fld id="{1D9B13CD-33A0-446D-8703-F89F9F109F5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2" name="Title 5"/>
          <p:cNvSpPr>
            <a:spLocks noGrp="1"/>
          </p:cNvSpPr>
          <p:nvPr>
            <p:ph type="title" hasCustomPrompt="1"/>
          </p:nvPr>
        </p:nvSpPr>
        <p:spPr>
          <a:xfrm>
            <a:off x="457200" y="108000"/>
            <a:ext cx="7610400" cy="3312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ext title, Arial 24pt dark blue</a:t>
            </a:r>
          </a:p>
        </p:txBody>
      </p:sp>
      <p:sp>
        <p:nvSpPr>
          <p:cNvPr id="7" name="Tijdelijke aanduiding voor tekst 7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486001"/>
            <a:ext cx="7610400" cy="37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nl-NL"/>
              <a:t>Sub </a:t>
            </a:r>
            <a:r>
              <a:rPr lang="nl-NL" err="1"/>
              <a:t>title</a:t>
            </a:r>
            <a:r>
              <a:rPr lang="nl-NL"/>
              <a:t>, </a:t>
            </a:r>
            <a:r>
              <a:rPr lang="nl-NL" err="1"/>
              <a:t>Arial</a:t>
            </a:r>
            <a:r>
              <a:rPr lang="nl-NL"/>
              <a:t> 18pt </a:t>
            </a:r>
            <a:r>
              <a:rPr lang="nl-NL" err="1"/>
              <a:t>dark</a:t>
            </a:r>
            <a:r>
              <a:rPr lang="nl-NL"/>
              <a:t> blue</a:t>
            </a:r>
          </a:p>
        </p:txBody>
      </p:sp>
    </p:spTree>
    <p:extLst>
      <p:ext uri="{BB962C8B-B14F-4D97-AF65-F5344CB8AC3E}">
        <p14:creationId xmlns:p14="http://schemas.microsoft.com/office/powerpoint/2010/main" val="675770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SML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8305800" y="133350"/>
            <a:ext cx="762000" cy="30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731520" y="347472"/>
            <a:ext cx="7365588" cy="55702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ext title, Arial </a:t>
            </a:r>
            <a:r>
              <a:rPr lang="en-US" dirty="0" err="1"/>
              <a:t>24pt</a:t>
            </a:r>
            <a:r>
              <a:rPr lang="en-US" dirty="0"/>
              <a:t> dark gray</a:t>
            </a:r>
            <a:br>
              <a:rPr lang="en-US" dirty="0"/>
            </a:br>
            <a:endParaRPr lang="en-US" dirty="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152" r="9151"/>
          <a:stretch/>
        </p:blipFill>
        <p:spPr>
          <a:xfrm>
            <a:off x="8097108" y="0"/>
            <a:ext cx="155122" cy="5143500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097280" y="1069848"/>
            <a:ext cx="6999828" cy="3711702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tx2"/>
                </a:solidFill>
              </a:defRPr>
            </a:lvl1pPr>
            <a:lvl2pPr marL="403225" indent="-173038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tabLst/>
              <a:defRPr sz="1600">
                <a:solidFill>
                  <a:schemeClr val="tx2"/>
                </a:solidFill>
              </a:defRPr>
            </a:lvl2pPr>
            <a:lvl3pPr marL="741363" indent="-173038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en-US" dirty="0"/>
              <a:t>Text, Arial </a:t>
            </a:r>
            <a:r>
              <a:rPr lang="en-US" dirty="0" err="1"/>
              <a:t>18pt</a:t>
            </a:r>
            <a:r>
              <a:rPr lang="en-US" dirty="0"/>
              <a:t> middle blue</a:t>
            </a:r>
          </a:p>
          <a:p>
            <a:pPr lvl="1"/>
            <a:r>
              <a:rPr lang="en-US" dirty="0"/>
              <a:t>Second level, </a:t>
            </a:r>
            <a:r>
              <a:rPr lang="en-US" dirty="0" err="1"/>
              <a:t>16pt</a:t>
            </a:r>
            <a:r>
              <a:rPr lang="en-US" dirty="0"/>
              <a:t> middle blue</a:t>
            </a:r>
          </a:p>
          <a:p>
            <a:pPr lvl="2"/>
            <a:r>
              <a:rPr lang="en-US" dirty="0"/>
              <a:t>Third level, </a:t>
            </a:r>
            <a:r>
              <a:rPr lang="en-US" dirty="0" err="1"/>
              <a:t>14pt</a:t>
            </a:r>
            <a:r>
              <a:rPr lang="en-US" dirty="0"/>
              <a:t> middle blue</a:t>
            </a:r>
          </a:p>
        </p:txBody>
      </p:sp>
      <p:sp>
        <p:nvSpPr>
          <p:cNvPr id="31" name="Freeform 30"/>
          <p:cNvSpPr/>
          <p:nvPr userDrawn="1"/>
        </p:nvSpPr>
        <p:spPr>
          <a:xfrm>
            <a:off x="8320087" y="164783"/>
            <a:ext cx="170905" cy="182992"/>
          </a:xfrm>
          <a:custGeom>
            <a:avLst/>
            <a:gdLst>
              <a:gd name="connsiteX0" fmla="*/ 0 w 1097756"/>
              <a:gd name="connsiteY0" fmla="*/ 0 h 1181100"/>
              <a:gd name="connsiteX1" fmla="*/ 745331 w 1097756"/>
              <a:gd name="connsiteY1" fmla="*/ 0 h 1181100"/>
              <a:gd name="connsiteX2" fmla="*/ 1097756 w 1097756"/>
              <a:gd name="connsiteY2" fmla="*/ 1178718 h 1181100"/>
              <a:gd name="connsiteX3" fmla="*/ 523875 w 1097756"/>
              <a:gd name="connsiteY3" fmla="*/ 1181100 h 1181100"/>
              <a:gd name="connsiteX4" fmla="*/ 0 w 1097756"/>
              <a:gd name="connsiteY4" fmla="*/ 0 h 1181100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523875 w 1400175"/>
              <a:gd name="connsiteY3" fmla="*/ 1181100 h 2197893"/>
              <a:gd name="connsiteX4" fmla="*/ 0 w 1400175"/>
              <a:gd name="connsiteY4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1047750 w 1400175"/>
              <a:gd name="connsiteY3" fmla="*/ 1790700 h 2197893"/>
              <a:gd name="connsiteX4" fmla="*/ 523875 w 1400175"/>
              <a:gd name="connsiteY4" fmla="*/ 1181100 h 2197893"/>
              <a:gd name="connsiteX5" fmla="*/ 0 w 1400175"/>
              <a:gd name="connsiteY5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50094 w 1400175"/>
              <a:gd name="connsiteY3" fmla="*/ 2193131 h 2197893"/>
              <a:gd name="connsiteX4" fmla="*/ 523875 w 1400175"/>
              <a:gd name="connsiteY4" fmla="*/ 1181100 h 2197893"/>
              <a:gd name="connsiteX5" fmla="*/ 0 w 1400175"/>
              <a:gd name="connsiteY5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523875 w 1400175"/>
              <a:gd name="connsiteY4" fmla="*/ 1181100 h 2197893"/>
              <a:gd name="connsiteX5" fmla="*/ 0 w 1400175"/>
              <a:gd name="connsiteY5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0 w 1400175"/>
              <a:gd name="connsiteY5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230981 w 1400175"/>
              <a:gd name="connsiteY5" fmla="*/ 295275 h 2197893"/>
              <a:gd name="connsiteX6" fmla="*/ 0 w 1400175"/>
              <a:gd name="connsiteY6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95262 w 1400175"/>
              <a:gd name="connsiteY5" fmla="*/ 1204913 h 2197893"/>
              <a:gd name="connsiteX6" fmla="*/ 0 w 1400175"/>
              <a:gd name="connsiteY6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0 w 1400175"/>
              <a:gd name="connsiteY6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135731 w 1400175"/>
              <a:gd name="connsiteY6" fmla="*/ 1102518 h 2197893"/>
              <a:gd name="connsiteX7" fmla="*/ 0 w 1400175"/>
              <a:gd name="connsiteY7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0 w 1400175"/>
              <a:gd name="connsiteY7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378619 w 1400175"/>
              <a:gd name="connsiteY7" fmla="*/ 862012 h 2197893"/>
              <a:gd name="connsiteX8" fmla="*/ 0 w 1400175"/>
              <a:gd name="connsiteY8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0 w 1400175"/>
              <a:gd name="connsiteY8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426244 w 1400175"/>
              <a:gd name="connsiteY8" fmla="*/ 1112043 h 2197893"/>
              <a:gd name="connsiteX9" fmla="*/ 0 w 1400175"/>
              <a:gd name="connsiteY9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88106 w 1400175"/>
              <a:gd name="connsiteY8" fmla="*/ 1795462 h 2197893"/>
              <a:gd name="connsiteX9" fmla="*/ 0 w 1400175"/>
              <a:gd name="connsiteY9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88106 w 1400175"/>
              <a:gd name="connsiteY8" fmla="*/ 1795462 h 2197893"/>
              <a:gd name="connsiteX9" fmla="*/ 52388 w 1400175"/>
              <a:gd name="connsiteY9" fmla="*/ 1131093 h 2197893"/>
              <a:gd name="connsiteX10" fmla="*/ 0 w 1400175"/>
              <a:gd name="connsiteY10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88106 w 1400175"/>
              <a:gd name="connsiteY8" fmla="*/ 1795462 h 2197893"/>
              <a:gd name="connsiteX9" fmla="*/ 0 w 1400175"/>
              <a:gd name="connsiteY9" fmla="*/ 2197893 h 2197893"/>
              <a:gd name="connsiteX10" fmla="*/ 0 w 1400175"/>
              <a:gd name="connsiteY10" fmla="*/ 0 h 2197893"/>
              <a:gd name="connsiteX0" fmla="*/ 4762 w 1404937"/>
              <a:gd name="connsiteY0" fmla="*/ 0 h 2197893"/>
              <a:gd name="connsiteX1" fmla="*/ 750093 w 1404937"/>
              <a:gd name="connsiteY1" fmla="*/ 0 h 2197893"/>
              <a:gd name="connsiteX2" fmla="*/ 1404937 w 1404937"/>
              <a:gd name="connsiteY2" fmla="*/ 2197893 h 2197893"/>
              <a:gd name="connsiteX3" fmla="*/ 752475 w 1404937"/>
              <a:gd name="connsiteY3" fmla="*/ 2195512 h 2197893"/>
              <a:gd name="connsiteX4" fmla="*/ 376237 w 1404937"/>
              <a:gd name="connsiteY4" fmla="*/ 478631 h 2197893"/>
              <a:gd name="connsiteX5" fmla="*/ 178592 w 1404937"/>
              <a:gd name="connsiteY5" fmla="*/ 1383507 h 2197893"/>
              <a:gd name="connsiteX6" fmla="*/ 614362 w 1404937"/>
              <a:gd name="connsiteY6" fmla="*/ 1385887 h 2197893"/>
              <a:gd name="connsiteX7" fmla="*/ 697706 w 1404937"/>
              <a:gd name="connsiteY7" fmla="*/ 1797843 h 2197893"/>
              <a:gd name="connsiteX8" fmla="*/ 92868 w 1404937"/>
              <a:gd name="connsiteY8" fmla="*/ 1795462 h 2197893"/>
              <a:gd name="connsiteX9" fmla="*/ 4762 w 1404937"/>
              <a:gd name="connsiteY9" fmla="*/ 2197893 h 2197893"/>
              <a:gd name="connsiteX10" fmla="*/ 0 w 1404937"/>
              <a:gd name="connsiteY10" fmla="*/ 2045493 h 2197893"/>
              <a:gd name="connsiteX11" fmla="*/ 4762 w 1404937"/>
              <a:gd name="connsiteY11" fmla="*/ 0 h 2197893"/>
              <a:gd name="connsiteX0" fmla="*/ 652462 w 2052637"/>
              <a:gd name="connsiteY0" fmla="*/ 0 h 2197893"/>
              <a:gd name="connsiteX1" fmla="*/ 1397793 w 2052637"/>
              <a:gd name="connsiteY1" fmla="*/ 0 h 2197893"/>
              <a:gd name="connsiteX2" fmla="*/ 2052637 w 2052637"/>
              <a:gd name="connsiteY2" fmla="*/ 2197893 h 2197893"/>
              <a:gd name="connsiteX3" fmla="*/ 1400175 w 2052637"/>
              <a:gd name="connsiteY3" fmla="*/ 2195512 h 2197893"/>
              <a:gd name="connsiteX4" fmla="*/ 1023937 w 2052637"/>
              <a:gd name="connsiteY4" fmla="*/ 478631 h 2197893"/>
              <a:gd name="connsiteX5" fmla="*/ 826292 w 2052637"/>
              <a:gd name="connsiteY5" fmla="*/ 1383507 h 2197893"/>
              <a:gd name="connsiteX6" fmla="*/ 1262062 w 2052637"/>
              <a:gd name="connsiteY6" fmla="*/ 1385887 h 2197893"/>
              <a:gd name="connsiteX7" fmla="*/ 1345406 w 2052637"/>
              <a:gd name="connsiteY7" fmla="*/ 1797843 h 2197893"/>
              <a:gd name="connsiteX8" fmla="*/ 740568 w 2052637"/>
              <a:gd name="connsiteY8" fmla="*/ 1795462 h 2197893"/>
              <a:gd name="connsiteX9" fmla="*/ 652462 w 2052637"/>
              <a:gd name="connsiteY9" fmla="*/ 2197893 h 2197893"/>
              <a:gd name="connsiteX10" fmla="*/ 0 w 2052637"/>
              <a:gd name="connsiteY10" fmla="*/ 2193131 h 2197893"/>
              <a:gd name="connsiteX11" fmla="*/ 652462 w 2052637"/>
              <a:gd name="connsiteY11" fmla="*/ 0 h 2197893"/>
              <a:gd name="connsiteX0" fmla="*/ 652462 w 2052637"/>
              <a:gd name="connsiteY0" fmla="*/ 1 h 2197894"/>
              <a:gd name="connsiteX1" fmla="*/ 1397793 w 2052637"/>
              <a:gd name="connsiteY1" fmla="*/ 1 h 2197894"/>
              <a:gd name="connsiteX2" fmla="*/ 2052637 w 2052637"/>
              <a:gd name="connsiteY2" fmla="*/ 2197894 h 2197894"/>
              <a:gd name="connsiteX3" fmla="*/ 1400175 w 2052637"/>
              <a:gd name="connsiteY3" fmla="*/ 2195513 h 2197894"/>
              <a:gd name="connsiteX4" fmla="*/ 1023937 w 2052637"/>
              <a:gd name="connsiteY4" fmla="*/ 478632 h 2197894"/>
              <a:gd name="connsiteX5" fmla="*/ 826292 w 2052637"/>
              <a:gd name="connsiteY5" fmla="*/ 1383508 h 2197894"/>
              <a:gd name="connsiteX6" fmla="*/ 1262062 w 2052637"/>
              <a:gd name="connsiteY6" fmla="*/ 1385888 h 2197894"/>
              <a:gd name="connsiteX7" fmla="*/ 1345406 w 2052637"/>
              <a:gd name="connsiteY7" fmla="*/ 1797844 h 2197894"/>
              <a:gd name="connsiteX8" fmla="*/ 740568 w 2052637"/>
              <a:gd name="connsiteY8" fmla="*/ 1795463 h 2197894"/>
              <a:gd name="connsiteX9" fmla="*/ 652462 w 2052637"/>
              <a:gd name="connsiteY9" fmla="*/ 2197894 h 2197894"/>
              <a:gd name="connsiteX10" fmla="*/ 0 w 2052637"/>
              <a:gd name="connsiteY10" fmla="*/ 2193132 h 2197894"/>
              <a:gd name="connsiteX11" fmla="*/ 652462 w 2052637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62133 w 2052708"/>
              <a:gd name="connsiteY6" fmla="*/ 1385888 h 2197894"/>
              <a:gd name="connsiteX7" fmla="*/ 1345477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14508 w 2052708"/>
              <a:gd name="connsiteY6" fmla="*/ 1383506 h 2197894"/>
              <a:gd name="connsiteX7" fmla="*/ 1345477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14508 w 2052708"/>
              <a:gd name="connsiteY6" fmla="*/ 1383506 h 2197894"/>
              <a:gd name="connsiteX7" fmla="*/ 1312139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19271 w 2052708"/>
              <a:gd name="connsiteY6" fmla="*/ 1376363 h 2197894"/>
              <a:gd name="connsiteX7" fmla="*/ 1312139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21653 w 2052708"/>
              <a:gd name="connsiteY6" fmla="*/ 1383507 h 2197894"/>
              <a:gd name="connsiteX7" fmla="*/ 1312139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21653 w 2052708"/>
              <a:gd name="connsiteY6" fmla="*/ 1383507 h 2197894"/>
              <a:gd name="connsiteX7" fmla="*/ 1312139 w 2052708"/>
              <a:gd name="connsiteY7" fmla="*/ 1795463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052708" h="2197894">
                <a:moveTo>
                  <a:pt x="652533" y="1"/>
                </a:moveTo>
                <a:lnTo>
                  <a:pt x="1397864" y="1"/>
                </a:lnTo>
                <a:lnTo>
                  <a:pt x="2052708" y="2197894"/>
                </a:lnTo>
                <a:lnTo>
                  <a:pt x="1400246" y="2195513"/>
                </a:lnTo>
                <a:lnTo>
                  <a:pt x="1024008" y="478632"/>
                </a:lnTo>
                <a:lnTo>
                  <a:pt x="826363" y="1383508"/>
                </a:lnTo>
                <a:lnTo>
                  <a:pt x="1221653" y="1383507"/>
                </a:lnTo>
                <a:lnTo>
                  <a:pt x="1312139" y="1795463"/>
                </a:lnTo>
                <a:lnTo>
                  <a:pt x="740639" y="1795463"/>
                </a:lnTo>
                <a:lnTo>
                  <a:pt x="652533" y="2197894"/>
                </a:lnTo>
                <a:lnTo>
                  <a:pt x="71" y="2193132"/>
                </a:lnTo>
                <a:cubicBezTo>
                  <a:pt x="-7867" y="2197101"/>
                  <a:pt x="648565" y="-1587"/>
                  <a:pt x="652533" y="1"/>
                </a:cubicBezTo>
                <a:close/>
              </a:path>
            </a:pathLst>
          </a:custGeom>
          <a:solidFill>
            <a:srgbClr val="0F238D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sp>
        <p:nvSpPr>
          <p:cNvPr id="32" name="Freeform 31"/>
          <p:cNvSpPr/>
          <p:nvPr userDrawn="1"/>
        </p:nvSpPr>
        <p:spPr>
          <a:xfrm>
            <a:off x="8653685" y="164584"/>
            <a:ext cx="208171" cy="182993"/>
          </a:xfrm>
          <a:custGeom>
            <a:avLst/>
            <a:gdLst>
              <a:gd name="connsiteX0" fmla="*/ 0 w 688182"/>
              <a:gd name="connsiteY0" fmla="*/ 950119 h 950119"/>
              <a:gd name="connsiteX1" fmla="*/ 611982 w 688182"/>
              <a:gd name="connsiteY1" fmla="*/ 950119 h 950119"/>
              <a:gd name="connsiteX2" fmla="*/ 688182 w 688182"/>
              <a:gd name="connsiteY2" fmla="*/ 0 h 950119"/>
              <a:gd name="connsiteX3" fmla="*/ 0 w 688182"/>
              <a:gd name="connsiteY3" fmla="*/ 950119 h 950119"/>
              <a:gd name="connsiteX0" fmla="*/ 0 w 688182"/>
              <a:gd name="connsiteY0" fmla="*/ 950119 h 950119"/>
              <a:gd name="connsiteX1" fmla="*/ 611982 w 688182"/>
              <a:gd name="connsiteY1" fmla="*/ 950119 h 950119"/>
              <a:gd name="connsiteX2" fmla="*/ 688182 w 688182"/>
              <a:gd name="connsiteY2" fmla="*/ 0 h 950119"/>
              <a:gd name="connsiteX3" fmla="*/ 214313 w 688182"/>
              <a:gd name="connsiteY3" fmla="*/ 652463 h 950119"/>
              <a:gd name="connsiteX4" fmla="*/ 0 w 688182"/>
              <a:gd name="connsiteY4" fmla="*/ 950119 h 950119"/>
              <a:gd name="connsiteX0" fmla="*/ 0 w 688182"/>
              <a:gd name="connsiteY0" fmla="*/ 950119 h 950119"/>
              <a:gd name="connsiteX1" fmla="*/ 611982 w 688182"/>
              <a:gd name="connsiteY1" fmla="*/ 950119 h 950119"/>
              <a:gd name="connsiteX2" fmla="*/ 688182 w 688182"/>
              <a:gd name="connsiteY2" fmla="*/ 0 h 950119"/>
              <a:gd name="connsiteX3" fmla="*/ 111919 w 688182"/>
              <a:gd name="connsiteY3" fmla="*/ 95250 h 950119"/>
              <a:gd name="connsiteX4" fmla="*/ 0 w 688182"/>
              <a:gd name="connsiteY4" fmla="*/ 950119 h 950119"/>
              <a:gd name="connsiteX0" fmla="*/ 0 w 723900"/>
              <a:gd name="connsiteY0" fmla="*/ 1395413 h 1395413"/>
              <a:gd name="connsiteX1" fmla="*/ 611982 w 723900"/>
              <a:gd name="connsiteY1" fmla="*/ 1395413 h 1395413"/>
              <a:gd name="connsiteX2" fmla="*/ 723900 w 723900"/>
              <a:gd name="connsiteY2" fmla="*/ 0 h 1395413"/>
              <a:gd name="connsiteX3" fmla="*/ 111919 w 723900"/>
              <a:gd name="connsiteY3" fmla="*/ 540544 h 1395413"/>
              <a:gd name="connsiteX4" fmla="*/ 0 w 723900"/>
              <a:gd name="connsiteY4" fmla="*/ 1395413 h 1395413"/>
              <a:gd name="connsiteX0" fmla="*/ 0 w 723900"/>
              <a:gd name="connsiteY0" fmla="*/ 2031206 h 2031206"/>
              <a:gd name="connsiteX1" fmla="*/ 611982 w 723900"/>
              <a:gd name="connsiteY1" fmla="*/ 2031206 h 2031206"/>
              <a:gd name="connsiteX2" fmla="*/ 723900 w 723900"/>
              <a:gd name="connsiteY2" fmla="*/ 635793 h 2031206"/>
              <a:gd name="connsiteX3" fmla="*/ 266700 w 723900"/>
              <a:gd name="connsiteY3" fmla="*/ 0 h 2031206"/>
              <a:gd name="connsiteX4" fmla="*/ 0 w 723900"/>
              <a:gd name="connsiteY4" fmla="*/ 2031206 h 2031206"/>
              <a:gd name="connsiteX0" fmla="*/ 0 w 723900"/>
              <a:gd name="connsiteY0" fmla="*/ 2195513 h 2195513"/>
              <a:gd name="connsiteX1" fmla="*/ 611982 w 723900"/>
              <a:gd name="connsiteY1" fmla="*/ 2195513 h 2195513"/>
              <a:gd name="connsiteX2" fmla="*/ 723900 w 723900"/>
              <a:gd name="connsiteY2" fmla="*/ 800100 h 2195513"/>
              <a:gd name="connsiteX3" fmla="*/ 283369 w 723900"/>
              <a:gd name="connsiteY3" fmla="*/ 0 h 2195513"/>
              <a:gd name="connsiteX4" fmla="*/ 0 w 723900"/>
              <a:gd name="connsiteY4" fmla="*/ 2195513 h 2195513"/>
              <a:gd name="connsiteX0" fmla="*/ 0 w 723900"/>
              <a:gd name="connsiteY0" fmla="*/ 2195513 h 2195513"/>
              <a:gd name="connsiteX1" fmla="*/ 611982 w 723900"/>
              <a:gd name="connsiteY1" fmla="*/ 2195513 h 2195513"/>
              <a:gd name="connsiteX2" fmla="*/ 723900 w 723900"/>
              <a:gd name="connsiteY2" fmla="*/ 800100 h 2195513"/>
              <a:gd name="connsiteX3" fmla="*/ 500063 w 723900"/>
              <a:gd name="connsiteY3" fmla="*/ 388145 h 2195513"/>
              <a:gd name="connsiteX4" fmla="*/ 283369 w 723900"/>
              <a:gd name="connsiteY4" fmla="*/ 0 h 2195513"/>
              <a:gd name="connsiteX5" fmla="*/ 0 w 723900"/>
              <a:gd name="connsiteY5" fmla="*/ 2195513 h 2195513"/>
              <a:gd name="connsiteX0" fmla="*/ 0 w 945356"/>
              <a:gd name="connsiteY0" fmla="*/ 2195513 h 2195513"/>
              <a:gd name="connsiteX1" fmla="*/ 611982 w 945356"/>
              <a:gd name="connsiteY1" fmla="*/ 2195513 h 2195513"/>
              <a:gd name="connsiteX2" fmla="*/ 723900 w 945356"/>
              <a:gd name="connsiteY2" fmla="*/ 800100 h 2195513"/>
              <a:gd name="connsiteX3" fmla="*/ 945356 w 945356"/>
              <a:gd name="connsiteY3" fmla="*/ 2382 h 2195513"/>
              <a:gd name="connsiteX4" fmla="*/ 283369 w 945356"/>
              <a:gd name="connsiteY4" fmla="*/ 0 h 2195513"/>
              <a:gd name="connsiteX5" fmla="*/ 0 w 945356"/>
              <a:gd name="connsiteY5" fmla="*/ 2195513 h 2195513"/>
              <a:gd name="connsiteX0" fmla="*/ 0 w 945356"/>
              <a:gd name="connsiteY0" fmla="*/ 2195513 h 2195513"/>
              <a:gd name="connsiteX1" fmla="*/ 611982 w 945356"/>
              <a:gd name="connsiteY1" fmla="*/ 2195513 h 2195513"/>
              <a:gd name="connsiteX2" fmla="*/ 723900 w 945356"/>
              <a:gd name="connsiteY2" fmla="*/ 800100 h 2195513"/>
              <a:gd name="connsiteX3" fmla="*/ 790575 w 945356"/>
              <a:gd name="connsiteY3" fmla="*/ 545308 h 2195513"/>
              <a:gd name="connsiteX4" fmla="*/ 945356 w 945356"/>
              <a:gd name="connsiteY4" fmla="*/ 2382 h 2195513"/>
              <a:gd name="connsiteX5" fmla="*/ 283369 w 945356"/>
              <a:gd name="connsiteY5" fmla="*/ 0 h 2195513"/>
              <a:gd name="connsiteX6" fmla="*/ 0 w 945356"/>
              <a:gd name="connsiteY6" fmla="*/ 2195513 h 2195513"/>
              <a:gd name="connsiteX0" fmla="*/ 0 w 1252537"/>
              <a:gd name="connsiteY0" fmla="*/ 2195513 h 2195513"/>
              <a:gd name="connsiteX1" fmla="*/ 611982 w 1252537"/>
              <a:gd name="connsiteY1" fmla="*/ 2195513 h 2195513"/>
              <a:gd name="connsiteX2" fmla="*/ 723900 w 1252537"/>
              <a:gd name="connsiteY2" fmla="*/ 800100 h 2195513"/>
              <a:gd name="connsiteX3" fmla="*/ 1252537 w 1252537"/>
              <a:gd name="connsiteY3" fmla="*/ 1333501 h 2195513"/>
              <a:gd name="connsiteX4" fmla="*/ 945356 w 1252537"/>
              <a:gd name="connsiteY4" fmla="*/ 2382 h 2195513"/>
              <a:gd name="connsiteX5" fmla="*/ 283369 w 1252537"/>
              <a:gd name="connsiteY5" fmla="*/ 0 h 2195513"/>
              <a:gd name="connsiteX6" fmla="*/ 0 w 1252537"/>
              <a:gd name="connsiteY6" fmla="*/ 2195513 h 2195513"/>
              <a:gd name="connsiteX0" fmla="*/ 0 w 1252537"/>
              <a:gd name="connsiteY0" fmla="*/ 2195513 h 2195513"/>
              <a:gd name="connsiteX1" fmla="*/ 611982 w 1252537"/>
              <a:gd name="connsiteY1" fmla="*/ 2195513 h 2195513"/>
              <a:gd name="connsiteX2" fmla="*/ 723900 w 1252537"/>
              <a:gd name="connsiteY2" fmla="*/ 800100 h 2195513"/>
              <a:gd name="connsiteX3" fmla="*/ 1031082 w 1252537"/>
              <a:gd name="connsiteY3" fmla="*/ 1112045 h 2195513"/>
              <a:gd name="connsiteX4" fmla="*/ 1252537 w 1252537"/>
              <a:gd name="connsiteY4" fmla="*/ 1333501 h 2195513"/>
              <a:gd name="connsiteX5" fmla="*/ 945356 w 1252537"/>
              <a:gd name="connsiteY5" fmla="*/ 2382 h 2195513"/>
              <a:gd name="connsiteX6" fmla="*/ 283369 w 1252537"/>
              <a:gd name="connsiteY6" fmla="*/ 0 h 2195513"/>
              <a:gd name="connsiteX7" fmla="*/ 0 w 1252537"/>
              <a:gd name="connsiteY7" fmla="*/ 2195513 h 2195513"/>
              <a:gd name="connsiteX0" fmla="*/ 0 w 1252537"/>
              <a:gd name="connsiteY0" fmla="*/ 2195513 h 2195513"/>
              <a:gd name="connsiteX1" fmla="*/ 611982 w 1252537"/>
              <a:gd name="connsiteY1" fmla="*/ 2195513 h 2195513"/>
              <a:gd name="connsiteX2" fmla="*/ 723900 w 1252537"/>
              <a:gd name="connsiteY2" fmla="*/ 800100 h 2195513"/>
              <a:gd name="connsiteX3" fmla="*/ 1007270 w 1252537"/>
              <a:gd name="connsiteY3" fmla="*/ 2193132 h 2195513"/>
              <a:gd name="connsiteX4" fmla="*/ 1252537 w 1252537"/>
              <a:gd name="connsiteY4" fmla="*/ 1333501 h 2195513"/>
              <a:gd name="connsiteX5" fmla="*/ 945356 w 1252537"/>
              <a:gd name="connsiteY5" fmla="*/ 2382 h 2195513"/>
              <a:gd name="connsiteX6" fmla="*/ 283369 w 1252537"/>
              <a:gd name="connsiteY6" fmla="*/ 0 h 2195513"/>
              <a:gd name="connsiteX7" fmla="*/ 0 w 1252537"/>
              <a:gd name="connsiteY7" fmla="*/ 2195513 h 2195513"/>
              <a:gd name="connsiteX0" fmla="*/ 0 w 1252537"/>
              <a:gd name="connsiteY0" fmla="*/ 2195513 h 2195513"/>
              <a:gd name="connsiteX1" fmla="*/ 611982 w 1252537"/>
              <a:gd name="connsiteY1" fmla="*/ 2195513 h 2195513"/>
              <a:gd name="connsiteX2" fmla="*/ 723900 w 1252537"/>
              <a:gd name="connsiteY2" fmla="*/ 800100 h 2195513"/>
              <a:gd name="connsiteX3" fmla="*/ 1007270 w 1252537"/>
              <a:gd name="connsiteY3" fmla="*/ 2193132 h 2195513"/>
              <a:gd name="connsiteX4" fmla="*/ 1173957 w 1252537"/>
              <a:gd name="connsiteY4" fmla="*/ 1600202 h 2195513"/>
              <a:gd name="connsiteX5" fmla="*/ 1252537 w 1252537"/>
              <a:gd name="connsiteY5" fmla="*/ 1333501 h 2195513"/>
              <a:gd name="connsiteX6" fmla="*/ 945356 w 1252537"/>
              <a:gd name="connsiteY6" fmla="*/ 2382 h 2195513"/>
              <a:gd name="connsiteX7" fmla="*/ 283369 w 1252537"/>
              <a:gd name="connsiteY7" fmla="*/ 0 h 2195513"/>
              <a:gd name="connsiteX8" fmla="*/ 0 w 1252537"/>
              <a:gd name="connsiteY8" fmla="*/ 2195513 h 2195513"/>
              <a:gd name="connsiteX0" fmla="*/ 0 w 1488282"/>
              <a:gd name="connsiteY0" fmla="*/ 2195513 h 2195514"/>
              <a:gd name="connsiteX1" fmla="*/ 611982 w 1488282"/>
              <a:gd name="connsiteY1" fmla="*/ 2195513 h 2195514"/>
              <a:gd name="connsiteX2" fmla="*/ 723900 w 1488282"/>
              <a:gd name="connsiteY2" fmla="*/ 800100 h 2195514"/>
              <a:gd name="connsiteX3" fmla="*/ 1007270 w 1488282"/>
              <a:gd name="connsiteY3" fmla="*/ 2193132 h 2195514"/>
              <a:gd name="connsiteX4" fmla="*/ 1488282 w 1488282"/>
              <a:gd name="connsiteY4" fmla="*/ 2195514 h 2195514"/>
              <a:gd name="connsiteX5" fmla="*/ 1252537 w 1488282"/>
              <a:gd name="connsiteY5" fmla="*/ 1333501 h 2195514"/>
              <a:gd name="connsiteX6" fmla="*/ 945356 w 1488282"/>
              <a:gd name="connsiteY6" fmla="*/ 2382 h 2195514"/>
              <a:gd name="connsiteX7" fmla="*/ 283369 w 1488282"/>
              <a:gd name="connsiteY7" fmla="*/ 0 h 2195514"/>
              <a:gd name="connsiteX8" fmla="*/ 0 w 1488282"/>
              <a:gd name="connsiteY8" fmla="*/ 2195513 h 2195514"/>
              <a:gd name="connsiteX0" fmla="*/ 0 w 1488282"/>
              <a:gd name="connsiteY0" fmla="*/ 2195513 h 2195514"/>
              <a:gd name="connsiteX1" fmla="*/ 611982 w 1488282"/>
              <a:gd name="connsiteY1" fmla="*/ 2195513 h 2195514"/>
              <a:gd name="connsiteX2" fmla="*/ 723900 w 1488282"/>
              <a:gd name="connsiteY2" fmla="*/ 800100 h 2195514"/>
              <a:gd name="connsiteX3" fmla="*/ 1007270 w 1488282"/>
              <a:gd name="connsiteY3" fmla="*/ 2193132 h 2195514"/>
              <a:gd name="connsiteX4" fmla="*/ 1488282 w 1488282"/>
              <a:gd name="connsiteY4" fmla="*/ 2195514 h 2195514"/>
              <a:gd name="connsiteX5" fmla="*/ 1352549 w 1488282"/>
              <a:gd name="connsiteY5" fmla="*/ 1690688 h 2195514"/>
              <a:gd name="connsiteX6" fmla="*/ 1252537 w 1488282"/>
              <a:gd name="connsiteY6" fmla="*/ 1333501 h 2195514"/>
              <a:gd name="connsiteX7" fmla="*/ 945356 w 1488282"/>
              <a:gd name="connsiteY7" fmla="*/ 2382 h 2195514"/>
              <a:gd name="connsiteX8" fmla="*/ 283369 w 1488282"/>
              <a:gd name="connsiteY8" fmla="*/ 0 h 2195514"/>
              <a:gd name="connsiteX9" fmla="*/ 0 w 1488282"/>
              <a:gd name="connsiteY9" fmla="*/ 2195513 h 2195514"/>
              <a:gd name="connsiteX0" fmla="*/ 0 w 1781174"/>
              <a:gd name="connsiteY0" fmla="*/ 2195513 h 2195514"/>
              <a:gd name="connsiteX1" fmla="*/ 611982 w 1781174"/>
              <a:gd name="connsiteY1" fmla="*/ 2195513 h 2195514"/>
              <a:gd name="connsiteX2" fmla="*/ 723900 w 1781174"/>
              <a:gd name="connsiteY2" fmla="*/ 800100 h 2195514"/>
              <a:gd name="connsiteX3" fmla="*/ 1007270 w 1781174"/>
              <a:gd name="connsiteY3" fmla="*/ 2193132 h 2195514"/>
              <a:gd name="connsiteX4" fmla="*/ 1488282 w 1781174"/>
              <a:gd name="connsiteY4" fmla="*/ 2195514 h 2195514"/>
              <a:gd name="connsiteX5" fmla="*/ 1781174 w 1781174"/>
              <a:gd name="connsiteY5" fmla="*/ 792957 h 2195514"/>
              <a:gd name="connsiteX6" fmla="*/ 1252537 w 1781174"/>
              <a:gd name="connsiteY6" fmla="*/ 1333501 h 2195514"/>
              <a:gd name="connsiteX7" fmla="*/ 945356 w 1781174"/>
              <a:gd name="connsiteY7" fmla="*/ 2382 h 2195514"/>
              <a:gd name="connsiteX8" fmla="*/ 283369 w 1781174"/>
              <a:gd name="connsiteY8" fmla="*/ 0 h 2195514"/>
              <a:gd name="connsiteX9" fmla="*/ 0 w 1781174"/>
              <a:gd name="connsiteY9" fmla="*/ 2195513 h 2195514"/>
              <a:gd name="connsiteX0" fmla="*/ 0 w 1781174"/>
              <a:gd name="connsiteY0" fmla="*/ 2195513 h 2195514"/>
              <a:gd name="connsiteX1" fmla="*/ 611982 w 1781174"/>
              <a:gd name="connsiteY1" fmla="*/ 2195513 h 2195514"/>
              <a:gd name="connsiteX2" fmla="*/ 723900 w 1781174"/>
              <a:gd name="connsiteY2" fmla="*/ 800100 h 2195514"/>
              <a:gd name="connsiteX3" fmla="*/ 1007270 w 1781174"/>
              <a:gd name="connsiteY3" fmla="*/ 2193132 h 2195514"/>
              <a:gd name="connsiteX4" fmla="*/ 1488282 w 1781174"/>
              <a:gd name="connsiteY4" fmla="*/ 2195514 h 2195514"/>
              <a:gd name="connsiteX5" fmla="*/ 1781174 w 1781174"/>
              <a:gd name="connsiteY5" fmla="*/ 792957 h 2195514"/>
              <a:gd name="connsiteX6" fmla="*/ 1528762 w 1781174"/>
              <a:gd name="connsiteY6" fmla="*/ 1052513 h 2195514"/>
              <a:gd name="connsiteX7" fmla="*/ 1252537 w 1781174"/>
              <a:gd name="connsiteY7" fmla="*/ 1333501 h 2195514"/>
              <a:gd name="connsiteX8" fmla="*/ 945356 w 1781174"/>
              <a:gd name="connsiteY8" fmla="*/ 2382 h 2195514"/>
              <a:gd name="connsiteX9" fmla="*/ 283369 w 1781174"/>
              <a:gd name="connsiteY9" fmla="*/ 0 h 2195514"/>
              <a:gd name="connsiteX10" fmla="*/ 0 w 1781174"/>
              <a:gd name="connsiteY10" fmla="*/ 2195513 h 2195514"/>
              <a:gd name="connsiteX0" fmla="*/ 0 w 1781174"/>
              <a:gd name="connsiteY0" fmla="*/ 2197894 h 2197895"/>
              <a:gd name="connsiteX1" fmla="*/ 611982 w 1781174"/>
              <a:gd name="connsiteY1" fmla="*/ 2197894 h 2197895"/>
              <a:gd name="connsiteX2" fmla="*/ 723900 w 1781174"/>
              <a:gd name="connsiteY2" fmla="*/ 802481 h 2197895"/>
              <a:gd name="connsiteX3" fmla="*/ 1007270 w 1781174"/>
              <a:gd name="connsiteY3" fmla="*/ 2195513 h 2197895"/>
              <a:gd name="connsiteX4" fmla="*/ 1488282 w 1781174"/>
              <a:gd name="connsiteY4" fmla="*/ 2197895 h 2197895"/>
              <a:gd name="connsiteX5" fmla="*/ 1781174 w 1781174"/>
              <a:gd name="connsiteY5" fmla="*/ 795338 h 2197895"/>
              <a:gd name="connsiteX6" fmla="*/ 1559719 w 1781174"/>
              <a:gd name="connsiteY6" fmla="*/ 0 h 2197895"/>
              <a:gd name="connsiteX7" fmla="*/ 1252537 w 1781174"/>
              <a:gd name="connsiteY7" fmla="*/ 1335882 h 2197895"/>
              <a:gd name="connsiteX8" fmla="*/ 945356 w 1781174"/>
              <a:gd name="connsiteY8" fmla="*/ 4763 h 2197895"/>
              <a:gd name="connsiteX9" fmla="*/ 283369 w 1781174"/>
              <a:gd name="connsiteY9" fmla="*/ 2381 h 2197895"/>
              <a:gd name="connsiteX10" fmla="*/ 0 w 1781174"/>
              <a:gd name="connsiteY10" fmla="*/ 2197894 h 2197895"/>
              <a:gd name="connsiteX0" fmla="*/ 0 w 1781174"/>
              <a:gd name="connsiteY0" fmla="*/ 2197894 h 2197895"/>
              <a:gd name="connsiteX1" fmla="*/ 611982 w 1781174"/>
              <a:gd name="connsiteY1" fmla="*/ 2197894 h 2197895"/>
              <a:gd name="connsiteX2" fmla="*/ 723900 w 1781174"/>
              <a:gd name="connsiteY2" fmla="*/ 802481 h 2197895"/>
              <a:gd name="connsiteX3" fmla="*/ 1007270 w 1781174"/>
              <a:gd name="connsiteY3" fmla="*/ 2195513 h 2197895"/>
              <a:gd name="connsiteX4" fmla="*/ 1488282 w 1781174"/>
              <a:gd name="connsiteY4" fmla="*/ 2197895 h 2197895"/>
              <a:gd name="connsiteX5" fmla="*/ 1781174 w 1781174"/>
              <a:gd name="connsiteY5" fmla="*/ 795338 h 2197895"/>
              <a:gd name="connsiteX6" fmla="*/ 1688306 w 1781174"/>
              <a:gd name="connsiteY6" fmla="*/ 454820 h 2197895"/>
              <a:gd name="connsiteX7" fmla="*/ 1559719 w 1781174"/>
              <a:gd name="connsiteY7" fmla="*/ 0 h 2197895"/>
              <a:gd name="connsiteX8" fmla="*/ 1252537 w 1781174"/>
              <a:gd name="connsiteY8" fmla="*/ 1335882 h 2197895"/>
              <a:gd name="connsiteX9" fmla="*/ 945356 w 1781174"/>
              <a:gd name="connsiteY9" fmla="*/ 4763 h 2197895"/>
              <a:gd name="connsiteX10" fmla="*/ 283369 w 1781174"/>
              <a:gd name="connsiteY10" fmla="*/ 2381 h 2197895"/>
              <a:gd name="connsiteX11" fmla="*/ 0 w 1781174"/>
              <a:gd name="connsiteY11" fmla="*/ 2197894 h 2197895"/>
              <a:gd name="connsiteX0" fmla="*/ 0 w 2212181"/>
              <a:gd name="connsiteY0" fmla="*/ 2197894 h 2197895"/>
              <a:gd name="connsiteX1" fmla="*/ 611982 w 2212181"/>
              <a:gd name="connsiteY1" fmla="*/ 2197894 h 2197895"/>
              <a:gd name="connsiteX2" fmla="*/ 723900 w 2212181"/>
              <a:gd name="connsiteY2" fmla="*/ 802481 h 2197895"/>
              <a:gd name="connsiteX3" fmla="*/ 1007270 w 2212181"/>
              <a:gd name="connsiteY3" fmla="*/ 2195513 h 2197895"/>
              <a:gd name="connsiteX4" fmla="*/ 1488282 w 2212181"/>
              <a:gd name="connsiteY4" fmla="*/ 2197895 h 2197895"/>
              <a:gd name="connsiteX5" fmla="*/ 1781174 w 2212181"/>
              <a:gd name="connsiteY5" fmla="*/ 795338 h 2197895"/>
              <a:gd name="connsiteX6" fmla="*/ 2212181 w 2212181"/>
              <a:gd name="connsiteY6" fmla="*/ 7145 h 2197895"/>
              <a:gd name="connsiteX7" fmla="*/ 1559719 w 2212181"/>
              <a:gd name="connsiteY7" fmla="*/ 0 h 2197895"/>
              <a:gd name="connsiteX8" fmla="*/ 1252537 w 2212181"/>
              <a:gd name="connsiteY8" fmla="*/ 1335882 h 2197895"/>
              <a:gd name="connsiteX9" fmla="*/ 945356 w 2212181"/>
              <a:gd name="connsiteY9" fmla="*/ 4763 h 2197895"/>
              <a:gd name="connsiteX10" fmla="*/ 283369 w 2212181"/>
              <a:gd name="connsiteY10" fmla="*/ 2381 h 2197895"/>
              <a:gd name="connsiteX11" fmla="*/ 0 w 2212181"/>
              <a:gd name="connsiteY11" fmla="*/ 2197894 h 2197895"/>
              <a:gd name="connsiteX0" fmla="*/ 0 w 2212181"/>
              <a:gd name="connsiteY0" fmla="*/ 2197894 h 2197895"/>
              <a:gd name="connsiteX1" fmla="*/ 611982 w 2212181"/>
              <a:gd name="connsiteY1" fmla="*/ 2197894 h 2197895"/>
              <a:gd name="connsiteX2" fmla="*/ 723900 w 2212181"/>
              <a:gd name="connsiteY2" fmla="*/ 802481 h 2197895"/>
              <a:gd name="connsiteX3" fmla="*/ 1007270 w 2212181"/>
              <a:gd name="connsiteY3" fmla="*/ 2195513 h 2197895"/>
              <a:gd name="connsiteX4" fmla="*/ 1488282 w 2212181"/>
              <a:gd name="connsiteY4" fmla="*/ 2197895 h 2197895"/>
              <a:gd name="connsiteX5" fmla="*/ 1781174 w 2212181"/>
              <a:gd name="connsiteY5" fmla="*/ 795338 h 2197895"/>
              <a:gd name="connsiteX6" fmla="*/ 2035968 w 2212181"/>
              <a:gd name="connsiteY6" fmla="*/ 328614 h 2197895"/>
              <a:gd name="connsiteX7" fmla="*/ 2212181 w 2212181"/>
              <a:gd name="connsiteY7" fmla="*/ 7145 h 2197895"/>
              <a:gd name="connsiteX8" fmla="*/ 1559719 w 2212181"/>
              <a:gd name="connsiteY8" fmla="*/ 0 h 2197895"/>
              <a:gd name="connsiteX9" fmla="*/ 1252537 w 2212181"/>
              <a:gd name="connsiteY9" fmla="*/ 1335882 h 2197895"/>
              <a:gd name="connsiteX10" fmla="*/ 945356 w 2212181"/>
              <a:gd name="connsiteY10" fmla="*/ 4763 h 2197895"/>
              <a:gd name="connsiteX11" fmla="*/ 283369 w 2212181"/>
              <a:gd name="connsiteY11" fmla="*/ 2381 h 2197895"/>
              <a:gd name="connsiteX12" fmla="*/ 0 w 2212181"/>
              <a:gd name="connsiteY12" fmla="*/ 2197894 h 2197895"/>
              <a:gd name="connsiteX0" fmla="*/ 0 w 2500312"/>
              <a:gd name="connsiteY0" fmla="*/ 2197894 h 2197895"/>
              <a:gd name="connsiteX1" fmla="*/ 611982 w 2500312"/>
              <a:gd name="connsiteY1" fmla="*/ 2197894 h 2197895"/>
              <a:gd name="connsiteX2" fmla="*/ 723900 w 2500312"/>
              <a:gd name="connsiteY2" fmla="*/ 802481 h 2197895"/>
              <a:gd name="connsiteX3" fmla="*/ 1007270 w 2500312"/>
              <a:gd name="connsiteY3" fmla="*/ 2195513 h 2197895"/>
              <a:gd name="connsiteX4" fmla="*/ 1488282 w 2500312"/>
              <a:gd name="connsiteY4" fmla="*/ 2197895 h 2197895"/>
              <a:gd name="connsiteX5" fmla="*/ 1781174 w 2500312"/>
              <a:gd name="connsiteY5" fmla="*/ 795338 h 2197895"/>
              <a:gd name="connsiteX6" fmla="*/ 2500312 w 2500312"/>
              <a:gd name="connsiteY6" fmla="*/ 2197895 h 2197895"/>
              <a:gd name="connsiteX7" fmla="*/ 2212181 w 2500312"/>
              <a:gd name="connsiteY7" fmla="*/ 7145 h 2197895"/>
              <a:gd name="connsiteX8" fmla="*/ 1559719 w 2500312"/>
              <a:gd name="connsiteY8" fmla="*/ 0 h 2197895"/>
              <a:gd name="connsiteX9" fmla="*/ 1252537 w 2500312"/>
              <a:gd name="connsiteY9" fmla="*/ 1335882 h 2197895"/>
              <a:gd name="connsiteX10" fmla="*/ 945356 w 2500312"/>
              <a:gd name="connsiteY10" fmla="*/ 4763 h 2197895"/>
              <a:gd name="connsiteX11" fmla="*/ 283369 w 2500312"/>
              <a:gd name="connsiteY11" fmla="*/ 2381 h 2197895"/>
              <a:gd name="connsiteX12" fmla="*/ 0 w 2500312"/>
              <a:gd name="connsiteY12" fmla="*/ 2197894 h 2197895"/>
              <a:gd name="connsiteX0" fmla="*/ 0 w 2500312"/>
              <a:gd name="connsiteY0" fmla="*/ 2197894 h 2197895"/>
              <a:gd name="connsiteX1" fmla="*/ 611982 w 2500312"/>
              <a:gd name="connsiteY1" fmla="*/ 2197894 h 2197895"/>
              <a:gd name="connsiteX2" fmla="*/ 723900 w 2500312"/>
              <a:gd name="connsiteY2" fmla="*/ 802481 h 2197895"/>
              <a:gd name="connsiteX3" fmla="*/ 1007270 w 2500312"/>
              <a:gd name="connsiteY3" fmla="*/ 2195513 h 2197895"/>
              <a:gd name="connsiteX4" fmla="*/ 1488282 w 2500312"/>
              <a:gd name="connsiteY4" fmla="*/ 2197895 h 2197895"/>
              <a:gd name="connsiteX5" fmla="*/ 1781174 w 2500312"/>
              <a:gd name="connsiteY5" fmla="*/ 795338 h 2197895"/>
              <a:gd name="connsiteX6" fmla="*/ 2190748 w 2500312"/>
              <a:gd name="connsiteY6" fmla="*/ 1595439 h 2197895"/>
              <a:gd name="connsiteX7" fmla="*/ 2500312 w 2500312"/>
              <a:gd name="connsiteY7" fmla="*/ 2197895 h 2197895"/>
              <a:gd name="connsiteX8" fmla="*/ 2212181 w 2500312"/>
              <a:gd name="connsiteY8" fmla="*/ 7145 h 2197895"/>
              <a:gd name="connsiteX9" fmla="*/ 1559719 w 2500312"/>
              <a:gd name="connsiteY9" fmla="*/ 0 h 2197895"/>
              <a:gd name="connsiteX10" fmla="*/ 1252537 w 2500312"/>
              <a:gd name="connsiteY10" fmla="*/ 1335882 h 2197895"/>
              <a:gd name="connsiteX11" fmla="*/ 945356 w 2500312"/>
              <a:gd name="connsiteY11" fmla="*/ 4763 h 2197895"/>
              <a:gd name="connsiteX12" fmla="*/ 283369 w 2500312"/>
              <a:gd name="connsiteY12" fmla="*/ 2381 h 2197895"/>
              <a:gd name="connsiteX13" fmla="*/ 0 w 2500312"/>
              <a:gd name="connsiteY13" fmla="*/ 2197894 h 2197895"/>
              <a:gd name="connsiteX0" fmla="*/ 0 w 2500312"/>
              <a:gd name="connsiteY0" fmla="*/ 2197894 h 2197895"/>
              <a:gd name="connsiteX1" fmla="*/ 611982 w 2500312"/>
              <a:gd name="connsiteY1" fmla="*/ 2197894 h 2197895"/>
              <a:gd name="connsiteX2" fmla="*/ 723900 w 2500312"/>
              <a:gd name="connsiteY2" fmla="*/ 802481 h 2197895"/>
              <a:gd name="connsiteX3" fmla="*/ 1007270 w 2500312"/>
              <a:gd name="connsiteY3" fmla="*/ 2195513 h 2197895"/>
              <a:gd name="connsiteX4" fmla="*/ 1488282 w 2500312"/>
              <a:gd name="connsiteY4" fmla="*/ 2197895 h 2197895"/>
              <a:gd name="connsiteX5" fmla="*/ 1781174 w 2500312"/>
              <a:gd name="connsiteY5" fmla="*/ 795338 h 2197895"/>
              <a:gd name="connsiteX6" fmla="*/ 1883567 w 2500312"/>
              <a:gd name="connsiteY6" fmla="*/ 2195514 h 2197895"/>
              <a:gd name="connsiteX7" fmla="*/ 2500312 w 2500312"/>
              <a:gd name="connsiteY7" fmla="*/ 2197895 h 2197895"/>
              <a:gd name="connsiteX8" fmla="*/ 2212181 w 2500312"/>
              <a:gd name="connsiteY8" fmla="*/ 7145 h 2197895"/>
              <a:gd name="connsiteX9" fmla="*/ 1559719 w 2500312"/>
              <a:gd name="connsiteY9" fmla="*/ 0 h 2197895"/>
              <a:gd name="connsiteX10" fmla="*/ 1252537 w 2500312"/>
              <a:gd name="connsiteY10" fmla="*/ 1335882 h 2197895"/>
              <a:gd name="connsiteX11" fmla="*/ 945356 w 2500312"/>
              <a:gd name="connsiteY11" fmla="*/ 4763 h 2197895"/>
              <a:gd name="connsiteX12" fmla="*/ 283369 w 2500312"/>
              <a:gd name="connsiteY12" fmla="*/ 2381 h 2197895"/>
              <a:gd name="connsiteX13" fmla="*/ 0 w 2500312"/>
              <a:gd name="connsiteY13" fmla="*/ 2197894 h 2197895"/>
              <a:gd name="connsiteX0" fmla="*/ 0 w 2500312"/>
              <a:gd name="connsiteY0" fmla="*/ 2197894 h 2197895"/>
              <a:gd name="connsiteX1" fmla="*/ 611982 w 2500312"/>
              <a:gd name="connsiteY1" fmla="*/ 2197894 h 2197895"/>
              <a:gd name="connsiteX2" fmla="*/ 723900 w 2500312"/>
              <a:gd name="connsiteY2" fmla="*/ 802481 h 2197895"/>
              <a:gd name="connsiteX3" fmla="*/ 1007270 w 2500312"/>
              <a:gd name="connsiteY3" fmla="*/ 2195513 h 2197895"/>
              <a:gd name="connsiteX4" fmla="*/ 1488282 w 2500312"/>
              <a:gd name="connsiteY4" fmla="*/ 2197895 h 2197895"/>
              <a:gd name="connsiteX5" fmla="*/ 1776411 w 2500312"/>
              <a:gd name="connsiteY5" fmla="*/ 809626 h 2197895"/>
              <a:gd name="connsiteX6" fmla="*/ 1883567 w 2500312"/>
              <a:gd name="connsiteY6" fmla="*/ 2195514 h 2197895"/>
              <a:gd name="connsiteX7" fmla="*/ 2500312 w 2500312"/>
              <a:gd name="connsiteY7" fmla="*/ 2197895 h 2197895"/>
              <a:gd name="connsiteX8" fmla="*/ 2212181 w 2500312"/>
              <a:gd name="connsiteY8" fmla="*/ 7145 h 2197895"/>
              <a:gd name="connsiteX9" fmla="*/ 1559719 w 2500312"/>
              <a:gd name="connsiteY9" fmla="*/ 0 h 2197895"/>
              <a:gd name="connsiteX10" fmla="*/ 1252537 w 2500312"/>
              <a:gd name="connsiteY10" fmla="*/ 1335882 h 2197895"/>
              <a:gd name="connsiteX11" fmla="*/ 945356 w 2500312"/>
              <a:gd name="connsiteY11" fmla="*/ 4763 h 2197895"/>
              <a:gd name="connsiteX12" fmla="*/ 283369 w 2500312"/>
              <a:gd name="connsiteY12" fmla="*/ 2381 h 2197895"/>
              <a:gd name="connsiteX13" fmla="*/ 0 w 2500312"/>
              <a:gd name="connsiteY13" fmla="*/ 2197894 h 2197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500312" h="2197895">
                <a:moveTo>
                  <a:pt x="0" y="2197894"/>
                </a:moveTo>
                <a:lnTo>
                  <a:pt x="611982" y="2197894"/>
                </a:lnTo>
                <a:lnTo>
                  <a:pt x="723900" y="802481"/>
                </a:lnTo>
                <a:lnTo>
                  <a:pt x="1007270" y="2195513"/>
                </a:lnTo>
                <a:lnTo>
                  <a:pt x="1488282" y="2197895"/>
                </a:lnTo>
                <a:lnTo>
                  <a:pt x="1776411" y="809626"/>
                </a:lnTo>
                <a:lnTo>
                  <a:pt x="1883567" y="2195514"/>
                </a:lnTo>
                <a:lnTo>
                  <a:pt x="2500312" y="2197895"/>
                </a:lnTo>
                <a:lnTo>
                  <a:pt x="2212181" y="7145"/>
                </a:lnTo>
                <a:lnTo>
                  <a:pt x="1559719" y="0"/>
                </a:lnTo>
                <a:lnTo>
                  <a:pt x="1252537" y="1335882"/>
                </a:lnTo>
                <a:lnTo>
                  <a:pt x="945356" y="4763"/>
                </a:lnTo>
                <a:lnTo>
                  <a:pt x="283369" y="2381"/>
                </a:lnTo>
                <a:lnTo>
                  <a:pt x="0" y="2197894"/>
                </a:lnTo>
                <a:close/>
              </a:path>
            </a:pathLst>
          </a:custGeom>
          <a:solidFill>
            <a:srgbClr val="0F238D"/>
          </a:solidFill>
          <a:ln w="190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sp>
        <p:nvSpPr>
          <p:cNvPr id="33" name="Freeform 32"/>
          <p:cNvSpPr/>
          <p:nvPr userDrawn="1"/>
        </p:nvSpPr>
        <p:spPr>
          <a:xfrm>
            <a:off x="8887233" y="164981"/>
            <a:ext cx="116972" cy="182397"/>
          </a:xfrm>
          <a:custGeom>
            <a:avLst/>
            <a:gdLst>
              <a:gd name="connsiteX0" fmla="*/ 0 w 1428750"/>
              <a:gd name="connsiteY0" fmla="*/ 997744 h 997744"/>
              <a:gd name="connsiteX1" fmla="*/ 1404937 w 1428750"/>
              <a:gd name="connsiteY1" fmla="*/ 997744 h 997744"/>
              <a:gd name="connsiteX2" fmla="*/ 1404937 w 1428750"/>
              <a:gd name="connsiteY2" fmla="*/ 538163 h 997744"/>
              <a:gd name="connsiteX3" fmla="*/ 1428750 w 1428750"/>
              <a:gd name="connsiteY3" fmla="*/ 540544 h 997744"/>
              <a:gd name="connsiteX4" fmla="*/ 590550 w 1428750"/>
              <a:gd name="connsiteY4" fmla="*/ 540544 h 997744"/>
              <a:gd name="connsiteX5" fmla="*/ 590550 w 1428750"/>
              <a:gd name="connsiteY5" fmla="*/ 0 h 997744"/>
              <a:gd name="connsiteX6" fmla="*/ 0 w 1428750"/>
              <a:gd name="connsiteY6" fmla="*/ 0 h 997744"/>
              <a:gd name="connsiteX7" fmla="*/ 0 w 1428750"/>
              <a:gd name="connsiteY7" fmla="*/ 997744 h 997744"/>
              <a:gd name="connsiteX0" fmla="*/ 0 w 1404937"/>
              <a:gd name="connsiteY0" fmla="*/ 997744 h 997744"/>
              <a:gd name="connsiteX1" fmla="*/ 1404937 w 1404937"/>
              <a:gd name="connsiteY1" fmla="*/ 997744 h 997744"/>
              <a:gd name="connsiteX2" fmla="*/ 1404937 w 1404937"/>
              <a:gd name="connsiteY2" fmla="*/ 538163 h 997744"/>
              <a:gd name="connsiteX3" fmla="*/ 1219200 w 1404937"/>
              <a:gd name="connsiteY3" fmla="*/ 476250 h 997744"/>
              <a:gd name="connsiteX4" fmla="*/ 590550 w 1404937"/>
              <a:gd name="connsiteY4" fmla="*/ 540544 h 997744"/>
              <a:gd name="connsiteX5" fmla="*/ 590550 w 1404937"/>
              <a:gd name="connsiteY5" fmla="*/ 0 h 997744"/>
              <a:gd name="connsiteX6" fmla="*/ 0 w 1404937"/>
              <a:gd name="connsiteY6" fmla="*/ 0 h 997744"/>
              <a:gd name="connsiteX7" fmla="*/ 0 w 1404937"/>
              <a:gd name="connsiteY7" fmla="*/ 997744 h 997744"/>
              <a:gd name="connsiteX0" fmla="*/ 0 w 1404937"/>
              <a:gd name="connsiteY0" fmla="*/ 997744 h 997744"/>
              <a:gd name="connsiteX1" fmla="*/ 1404937 w 1404937"/>
              <a:gd name="connsiteY1" fmla="*/ 997744 h 997744"/>
              <a:gd name="connsiteX2" fmla="*/ 1404937 w 1404937"/>
              <a:gd name="connsiteY2" fmla="*/ 538163 h 997744"/>
              <a:gd name="connsiteX3" fmla="*/ 590550 w 1404937"/>
              <a:gd name="connsiteY3" fmla="*/ 540544 h 997744"/>
              <a:gd name="connsiteX4" fmla="*/ 590550 w 1404937"/>
              <a:gd name="connsiteY4" fmla="*/ 0 h 997744"/>
              <a:gd name="connsiteX5" fmla="*/ 0 w 1404937"/>
              <a:gd name="connsiteY5" fmla="*/ 0 h 997744"/>
              <a:gd name="connsiteX6" fmla="*/ 0 w 1404937"/>
              <a:gd name="connsiteY6" fmla="*/ 997744 h 997744"/>
              <a:gd name="connsiteX0" fmla="*/ 0 w 1404937"/>
              <a:gd name="connsiteY0" fmla="*/ 1614488 h 1614488"/>
              <a:gd name="connsiteX1" fmla="*/ 1404937 w 1404937"/>
              <a:gd name="connsiteY1" fmla="*/ 1614488 h 1614488"/>
              <a:gd name="connsiteX2" fmla="*/ 1404937 w 1404937"/>
              <a:gd name="connsiteY2" fmla="*/ 1154907 h 1614488"/>
              <a:gd name="connsiteX3" fmla="*/ 590550 w 1404937"/>
              <a:gd name="connsiteY3" fmla="*/ 1157288 h 1614488"/>
              <a:gd name="connsiteX4" fmla="*/ 592931 w 1404937"/>
              <a:gd name="connsiteY4" fmla="*/ 0 h 1614488"/>
              <a:gd name="connsiteX5" fmla="*/ 0 w 1404937"/>
              <a:gd name="connsiteY5" fmla="*/ 616744 h 1614488"/>
              <a:gd name="connsiteX6" fmla="*/ 0 w 1404937"/>
              <a:gd name="connsiteY6" fmla="*/ 1614488 h 1614488"/>
              <a:gd name="connsiteX0" fmla="*/ 0 w 1404937"/>
              <a:gd name="connsiteY0" fmla="*/ 2188369 h 2188369"/>
              <a:gd name="connsiteX1" fmla="*/ 1404937 w 1404937"/>
              <a:gd name="connsiteY1" fmla="*/ 2188369 h 2188369"/>
              <a:gd name="connsiteX2" fmla="*/ 1404937 w 1404937"/>
              <a:gd name="connsiteY2" fmla="*/ 1728788 h 2188369"/>
              <a:gd name="connsiteX3" fmla="*/ 590550 w 1404937"/>
              <a:gd name="connsiteY3" fmla="*/ 1731169 h 2188369"/>
              <a:gd name="connsiteX4" fmla="*/ 592931 w 1404937"/>
              <a:gd name="connsiteY4" fmla="*/ 573881 h 2188369"/>
              <a:gd name="connsiteX5" fmla="*/ 2382 w 1404937"/>
              <a:gd name="connsiteY5" fmla="*/ 0 h 2188369"/>
              <a:gd name="connsiteX6" fmla="*/ 0 w 1404937"/>
              <a:gd name="connsiteY6" fmla="*/ 2188369 h 2188369"/>
              <a:gd name="connsiteX0" fmla="*/ 0 w 1404937"/>
              <a:gd name="connsiteY0" fmla="*/ 2190750 h 2190750"/>
              <a:gd name="connsiteX1" fmla="*/ 1404937 w 1404937"/>
              <a:gd name="connsiteY1" fmla="*/ 2190750 h 2190750"/>
              <a:gd name="connsiteX2" fmla="*/ 1404937 w 1404937"/>
              <a:gd name="connsiteY2" fmla="*/ 1731169 h 2190750"/>
              <a:gd name="connsiteX3" fmla="*/ 590550 w 1404937"/>
              <a:gd name="connsiteY3" fmla="*/ 1733550 h 2190750"/>
              <a:gd name="connsiteX4" fmla="*/ 592931 w 1404937"/>
              <a:gd name="connsiteY4" fmla="*/ 0 h 2190750"/>
              <a:gd name="connsiteX5" fmla="*/ 2382 w 1404937"/>
              <a:gd name="connsiteY5" fmla="*/ 2381 h 2190750"/>
              <a:gd name="connsiteX6" fmla="*/ 0 w 1404937"/>
              <a:gd name="connsiteY6" fmla="*/ 2190750 h 2190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04937" h="2190750">
                <a:moveTo>
                  <a:pt x="0" y="2190750"/>
                </a:moveTo>
                <a:lnTo>
                  <a:pt x="1404937" y="2190750"/>
                </a:lnTo>
                <a:lnTo>
                  <a:pt x="1404937" y="1731169"/>
                </a:lnTo>
                <a:lnTo>
                  <a:pt x="590550" y="1733550"/>
                </a:lnTo>
                <a:cubicBezTo>
                  <a:pt x="591344" y="1347787"/>
                  <a:pt x="592137" y="385763"/>
                  <a:pt x="592931" y="0"/>
                </a:cubicBezTo>
                <a:lnTo>
                  <a:pt x="2382" y="2381"/>
                </a:lnTo>
                <a:cubicBezTo>
                  <a:pt x="3969" y="334962"/>
                  <a:pt x="3175" y="1858169"/>
                  <a:pt x="0" y="2190750"/>
                </a:cubicBezTo>
                <a:close/>
              </a:path>
            </a:pathLst>
          </a:custGeom>
          <a:solidFill>
            <a:srgbClr val="0F238D"/>
          </a:solidFill>
          <a:ln w="190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sp>
        <p:nvSpPr>
          <p:cNvPr id="34" name="Freeform 33"/>
          <p:cNvSpPr/>
          <p:nvPr userDrawn="1"/>
        </p:nvSpPr>
        <p:spPr>
          <a:xfrm>
            <a:off x="8502102" y="201462"/>
            <a:ext cx="135419" cy="149888"/>
          </a:xfrm>
          <a:custGeom>
            <a:avLst/>
            <a:gdLst>
              <a:gd name="connsiteX0" fmla="*/ 0 w 483394"/>
              <a:gd name="connsiteY0" fmla="*/ 0 h 645319"/>
              <a:gd name="connsiteX1" fmla="*/ 0 w 483394"/>
              <a:gd name="connsiteY1" fmla="*/ 528638 h 645319"/>
              <a:gd name="connsiteX2" fmla="*/ 33338 w 483394"/>
              <a:gd name="connsiteY2" fmla="*/ 528638 h 645319"/>
              <a:gd name="connsiteX3" fmla="*/ 381000 w 483394"/>
              <a:gd name="connsiteY3" fmla="*/ 645319 h 645319"/>
              <a:gd name="connsiteX4" fmla="*/ 483394 w 483394"/>
              <a:gd name="connsiteY4" fmla="*/ 216694 h 645319"/>
              <a:gd name="connsiteX5" fmla="*/ 0 w 483394"/>
              <a:gd name="connsiteY5" fmla="*/ 0 h 645319"/>
              <a:gd name="connsiteX0" fmla="*/ 0 w 1626394"/>
              <a:gd name="connsiteY0" fmla="*/ 0 h 528638"/>
              <a:gd name="connsiteX1" fmla="*/ 0 w 1626394"/>
              <a:gd name="connsiteY1" fmla="*/ 528638 h 528638"/>
              <a:gd name="connsiteX2" fmla="*/ 33338 w 1626394"/>
              <a:gd name="connsiteY2" fmla="*/ 528638 h 528638"/>
              <a:gd name="connsiteX3" fmla="*/ 1626394 w 1626394"/>
              <a:gd name="connsiteY3" fmla="*/ 7144 h 528638"/>
              <a:gd name="connsiteX4" fmla="*/ 483394 w 1626394"/>
              <a:gd name="connsiteY4" fmla="*/ 216694 h 528638"/>
              <a:gd name="connsiteX5" fmla="*/ 0 w 1626394"/>
              <a:gd name="connsiteY5" fmla="*/ 0 h 528638"/>
              <a:gd name="connsiteX0" fmla="*/ 0 w 1626394"/>
              <a:gd name="connsiteY0" fmla="*/ 0 h 528638"/>
              <a:gd name="connsiteX1" fmla="*/ 0 w 1626394"/>
              <a:gd name="connsiteY1" fmla="*/ 528638 h 528638"/>
              <a:gd name="connsiteX2" fmla="*/ 33338 w 1626394"/>
              <a:gd name="connsiteY2" fmla="*/ 528638 h 528638"/>
              <a:gd name="connsiteX3" fmla="*/ 1626394 w 1626394"/>
              <a:gd name="connsiteY3" fmla="*/ 7144 h 528638"/>
              <a:gd name="connsiteX4" fmla="*/ 483394 w 1626394"/>
              <a:gd name="connsiteY4" fmla="*/ 216694 h 528638"/>
              <a:gd name="connsiteX5" fmla="*/ 0 w 1626394"/>
              <a:gd name="connsiteY5" fmla="*/ 0 h 528638"/>
              <a:gd name="connsiteX0" fmla="*/ 0 w 1626394"/>
              <a:gd name="connsiteY0" fmla="*/ 0 h 714375"/>
              <a:gd name="connsiteX1" fmla="*/ 0 w 1626394"/>
              <a:gd name="connsiteY1" fmla="*/ 528638 h 714375"/>
              <a:gd name="connsiteX2" fmla="*/ 354807 w 1626394"/>
              <a:gd name="connsiteY2" fmla="*/ 714375 h 714375"/>
              <a:gd name="connsiteX3" fmla="*/ 1626394 w 1626394"/>
              <a:gd name="connsiteY3" fmla="*/ 7144 h 714375"/>
              <a:gd name="connsiteX4" fmla="*/ 483394 w 1626394"/>
              <a:gd name="connsiteY4" fmla="*/ 216694 h 714375"/>
              <a:gd name="connsiteX5" fmla="*/ 0 w 1626394"/>
              <a:gd name="connsiteY5" fmla="*/ 0 h 714375"/>
              <a:gd name="connsiteX0" fmla="*/ 0 w 1626394"/>
              <a:gd name="connsiteY0" fmla="*/ 0 h 528638"/>
              <a:gd name="connsiteX1" fmla="*/ 0 w 1626394"/>
              <a:gd name="connsiteY1" fmla="*/ 528638 h 528638"/>
              <a:gd name="connsiteX2" fmla="*/ 1626394 w 1626394"/>
              <a:gd name="connsiteY2" fmla="*/ 7144 h 528638"/>
              <a:gd name="connsiteX3" fmla="*/ 483394 w 1626394"/>
              <a:gd name="connsiteY3" fmla="*/ 216694 h 528638"/>
              <a:gd name="connsiteX4" fmla="*/ 0 w 1626394"/>
              <a:gd name="connsiteY4" fmla="*/ 0 h 528638"/>
              <a:gd name="connsiteX0" fmla="*/ 0 w 1626394"/>
              <a:gd name="connsiteY0" fmla="*/ 0 h 528638"/>
              <a:gd name="connsiteX1" fmla="*/ 0 w 1626394"/>
              <a:gd name="connsiteY1" fmla="*/ 528638 h 528638"/>
              <a:gd name="connsiteX2" fmla="*/ 1626394 w 1626394"/>
              <a:gd name="connsiteY2" fmla="*/ 7144 h 528638"/>
              <a:gd name="connsiteX3" fmla="*/ 483394 w 1626394"/>
              <a:gd name="connsiteY3" fmla="*/ 216694 h 528638"/>
              <a:gd name="connsiteX4" fmla="*/ 0 w 1626394"/>
              <a:gd name="connsiteY4" fmla="*/ 0 h 528638"/>
              <a:gd name="connsiteX0" fmla="*/ 0 w 1626394"/>
              <a:gd name="connsiteY0" fmla="*/ 0 h 681404"/>
              <a:gd name="connsiteX1" fmla="*/ 0 w 1626394"/>
              <a:gd name="connsiteY1" fmla="*/ 528638 h 681404"/>
              <a:gd name="connsiteX2" fmla="*/ 1626394 w 1626394"/>
              <a:gd name="connsiteY2" fmla="*/ 7144 h 681404"/>
              <a:gd name="connsiteX3" fmla="*/ 483394 w 1626394"/>
              <a:gd name="connsiteY3" fmla="*/ 216694 h 681404"/>
              <a:gd name="connsiteX4" fmla="*/ 0 w 1626394"/>
              <a:gd name="connsiteY4" fmla="*/ 0 h 681404"/>
              <a:gd name="connsiteX0" fmla="*/ 0 w 1626394"/>
              <a:gd name="connsiteY0" fmla="*/ 0 h 661055"/>
              <a:gd name="connsiteX1" fmla="*/ 0 w 1626394"/>
              <a:gd name="connsiteY1" fmla="*/ 528638 h 661055"/>
              <a:gd name="connsiteX2" fmla="*/ 1626394 w 1626394"/>
              <a:gd name="connsiteY2" fmla="*/ 7144 h 661055"/>
              <a:gd name="connsiteX3" fmla="*/ 483394 w 1626394"/>
              <a:gd name="connsiteY3" fmla="*/ 216694 h 661055"/>
              <a:gd name="connsiteX4" fmla="*/ 0 w 1626394"/>
              <a:gd name="connsiteY4" fmla="*/ 0 h 661055"/>
              <a:gd name="connsiteX0" fmla="*/ 0 w 1626394"/>
              <a:gd name="connsiteY0" fmla="*/ 0 h 678971"/>
              <a:gd name="connsiteX1" fmla="*/ 0 w 1626394"/>
              <a:gd name="connsiteY1" fmla="*/ 528638 h 678971"/>
              <a:gd name="connsiteX2" fmla="*/ 1626394 w 1626394"/>
              <a:gd name="connsiteY2" fmla="*/ 7144 h 678971"/>
              <a:gd name="connsiteX3" fmla="*/ 483394 w 1626394"/>
              <a:gd name="connsiteY3" fmla="*/ 216694 h 678971"/>
              <a:gd name="connsiteX4" fmla="*/ 0 w 1626394"/>
              <a:gd name="connsiteY4" fmla="*/ 0 h 678971"/>
              <a:gd name="connsiteX0" fmla="*/ 0 w 1626394"/>
              <a:gd name="connsiteY0" fmla="*/ 0 h 678971"/>
              <a:gd name="connsiteX1" fmla="*/ 0 w 1626394"/>
              <a:gd name="connsiteY1" fmla="*/ 528638 h 678971"/>
              <a:gd name="connsiteX2" fmla="*/ 1626394 w 1626394"/>
              <a:gd name="connsiteY2" fmla="*/ 7144 h 678971"/>
              <a:gd name="connsiteX3" fmla="*/ 621506 w 1626394"/>
              <a:gd name="connsiteY3" fmla="*/ 233363 h 678971"/>
              <a:gd name="connsiteX4" fmla="*/ 0 w 1626394"/>
              <a:gd name="connsiteY4" fmla="*/ 0 h 678971"/>
              <a:gd name="connsiteX0" fmla="*/ 0 w 1626394"/>
              <a:gd name="connsiteY0" fmla="*/ 4860 h 683831"/>
              <a:gd name="connsiteX1" fmla="*/ 0 w 1626394"/>
              <a:gd name="connsiteY1" fmla="*/ 533498 h 683831"/>
              <a:gd name="connsiteX2" fmla="*/ 1626394 w 1626394"/>
              <a:gd name="connsiteY2" fmla="*/ 12004 h 683831"/>
              <a:gd name="connsiteX3" fmla="*/ 621506 w 1626394"/>
              <a:gd name="connsiteY3" fmla="*/ 238223 h 683831"/>
              <a:gd name="connsiteX4" fmla="*/ 0 w 1626394"/>
              <a:gd name="connsiteY4" fmla="*/ 4860 h 683831"/>
              <a:gd name="connsiteX0" fmla="*/ 0 w 1626394"/>
              <a:gd name="connsiteY0" fmla="*/ 4860 h 683831"/>
              <a:gd name="connsiteX1" fmla="*/ 0 w 1626394"/>
              <a:gd name="connsiteY1" fmla="*/ 533498 h 683831"/>
              <a:gd name="connsiteX2" fmla="*/ 1626394 w 1626394"/>
              <a:gd name="connsiteY2" fmla="*/ 12004 h 683831"/>
              <a:gd name="connsiteX3" fmla="*/ 1066800 w 1626394"/>
              <a:gd name="connsiteY3" fmla="*/ 135830 h 683831"/>
              <a:gd name="connsiteX4" fmla="*/ 621506 w 1626394"/>
              <a:gd name="connsiteY4" fmla="*/ 238223 h 683831"/>
              <a:gd name="connsiteX5" fmla="*/ 0 w 1626394"/>
              <a:gd name="connsiteY5" fmla="*/ 4860 h 683831"/>
              <a:gd name="connsiteX0" fmla="*/ 0 w 1626394"/>
              <a:gd name="connsiteY0" fmla="*/ 111917 h 790888"/>
              <a:gd name="connsiteX1" fmla="*/ 0 w 1626394"/>
              <a:gd name="connsiteY1" fmla="*/ 640555 h 790888"/>
              <a:gd name="connsiteX2" fmla="*/ 1626394 w 1626394"/>
              <a:gd name="connsiteY2" fmla="*/ 119061 h 790888"/>
              <a:gd name="connsiteX3" fmla="*/ 923925 w 1626394"/>
              <a:gd name="connsiteY3" fmla="*/ 0 h 790888"/>
              <a:gd name="connsiteX4" fmla="*/ 621506 w 1626394"/>
              <a:gd name="connsiteY4" fmla="*/ 345280 h 790888"/>
              <a:gd name="connsiteX5" fmla="*/ 0 w 1626394"/>
              <a:gd name="connsiteY5" fmla="*/ 111917 h 790888"/>
              <a:gd name="connsiteX0" fmla="*/ 0 w 1626394"/>
              <a:gd name="connsiteY0" fmla="*/ 111917 h 790888"/>
              <a:gd name="connsiteX1" fmla="*/ 0 w 1626394"/>
              <a:gd name="connsiteY1" fmla="*/ 640555 h 790888"/>
              <a:gd name="connsiteX2" fmla="*/ 1626394 w 1626394"/>
              <a:gd name="connsiteY2" fmla="*/ 119061 h 790888"/>
              <a:gd name="connsiteX3" fmla="*/ 1059656 w 1626394"/>
              <a:gd name="connsiteY3" fmla="*/ 23812 h 790888"/>
              <a:gd name="connsiteX4" fmla="*/ 923925 w 1626394"/>
              <a:gd name="connsiteY4" fmla="*/ 0 h 790888"/>
              <a:gd name="connsiteX5" fmla="*/ 621506 w 1626394"/>
              <a:gd name="connsiteY5" fmla="*/ 345280 h 790888"/>
              <a:gd name="connsiteX6" fmla="*/ 0 w 1626394"/>
              <a:gd name="connsiteY6" fmla="*/ 111917 h 790888"/>
              <a:gd name="connsiteX0" fmla="*/ 0 w 1626394"/>
              <a:gd name="connsiteY0" fmla="*/ 538161 h 1217132"/>
              <a:gd name="connsiteX1" fmla="*/ 0 w 1626394"/>
              <a:gd name="connsiteY1" fmla="*/ 1066799 h 1217132"/>
              <a:gd name="connsiteX2" fmla="*/ 1626394 w 1626394"/>
              <a:gd name="connsiteY2" fmla="*/ 545305 h 1217132"/>
              <a:gd name="connsiteX3" fmla="*/ 1323974 w 1626394"/>
              <a:gd name="connsiteY3" fmla="*/ 0 h 1217132"/>
              <a:gd name="connsiteX4" fmla="*/ 923925 w 1626394"/>
              <a:gd name="connsiteY4" fmla="*/ 426244 h 1217132"/>
              <a:gd name="connsiteX5" fmla="*/ 621506 w 1626394"/>
              <a:gd name="connsiteY5" fmla="*/ 771524 h 1217132"/>
              <a:gd name="connsiteX6" fmla="*/ 0 w 1626394"/>
              <a:gd name="connsiteY6" fmla="*/ 538161 h 1217132"/>
              <a:gd name="connsiteX0" fmla="*/ 0 w 1626394"/>
              <a:gd name="connsiteY0" fmla="*/ 538161 h 1217132"/>
              <a:gd name="connsiteX1" fmla="*/ 0 w 1626394"/>
              <a:gd name="connsiteY1" fmla="*/ 1066799 h 1217132"/>
              <a:gd name="connsiteX2" fmla="*/ 1626394 w 1626394"/>
              <a:gd name="connsiteY2" fmla="*/ 545305 h 1217132"/>
              <a:gd name="connsiteX3" fmla="*/ 1323974 w 1626394"/>
              <a:gd name="connsiteY3" fmla="*/ 0 h 1217132"/>
              <a:gd name="connsiteX4" fmla="*/ 923925 w 1626394"/>
              <a:gd name="connsiteY4" fmla="*/ 426244 h 1217132"/>
              <a:gd name="connsiteX5" fmla="*/ 621506 w 1626394"/>
              <a:gd name="connsiteY5" fmla="*/ 771524 h 1217132"/>
              <a:gd name="connsiteX6" fmla="*/ 0 w 1626394"/>
              <a:gd name="connsiteY6" fmla="*/ 538161 h 1217132"/>
              <a:gd name="connsiteX0" fmla="*/ 0 w 1635310"/>
              <a:gd name="connsiteY0" fmla="*/ 538161 h 1066802"/>
              <a:gd name="connsiteX1" fmla="*/ 0 w 1635310"/>
              <a:gd name="connsiteY1" fmla="*/ 1066799 h 1066802"/>
              <a:gd name="connsiteX2" fmla="*/ 1626394 w 1635310"/>
              <a:gd name="connsiteY2" fmla="*/ 545305 h 1066802"/>
              <a:gd name="connsiteX3" fmla="*/ 1323974 w 1635310"/>
              <a:gd name="connsiteY3" fmla="*/ 0 h 1066802"/>
              <a:gd name="connsiteX4" fmla="*/ 923925 w 1635310"/>
              <a:gd name="connsiteY4" fmla="*/ 426244 h 1066802"/>
              <a:gd name="connsiteX5" fmla="*/ 621506 w 1635310"/>
              <a:gd name="connsiteY5" fmla="*/ 771524 h 1066802"/>
              <a:gd name="connsiteX6" fmla="*/ 0 w 1635310"/>
              <a:gd name="connsiteY6" fmla="*/ 538161 h 1066802"/>
              <a:gd name="connsiteX0" fmla="*/ 0 w 1632620"/>
              <a:gd name="connsiteY0" fmla="*/ 538161 h 1083110"/>
              <a:gd name="connsiteX1" fmla="*/ 0 w 1632620"/>
              <a:gd name="connsiteY1" fmla="*/ 1066799 h 1083110"/>
              <a:gd name="connsiteX2" fmla="*/ 1626394 w 1632620"/>
              <a:gd name="connsiteY2" fmla="*/ 545305 h 1083110"/>
              <a:gd name="connsiteX3" fmla="*/ 1323974 w 1632620"/>
              <a:gd name="connsiteY3" fmla="*/ 0 h 1083110"/>
              <a:gd name="connsiteX4" fmla="*/ 923925 w 1632620"/>
              <a:gd name="connsiteY4" fmla="*/ 426244 h 1083110"/>
              <a:gd name="connsiteX5" fmla="*/ 621506 w 1632620"/>
              <a:gd name="connsiteY5" fmla="*/ 771524 h 1083110"/>
              <a:gd name="connsiteX6" fmla="*/ 0 w 1632620"/>
              <a:gd name="connsiteY6" fmla="*/ 538161 h 1083110"/>
              <a:gd name="connsiteX0" fmla="*/ 0 w 1638832"/>
              <a:gd name="connsiteY0" fmla="*/ 538161 h 1079262"/>
              <a:gd name="connsiteX1" fmla="*/ 0 w 1638832"/>
              <a:gd name="connsiteY1" fmla="*/ 1066799 h 1079262"/>
              <a:gd name="connsiteX2" fmla="*/ 1626394 w 1638832"/>
              <a:gd name="connsiteY2" fmla="*/ 545305 h 1079262"/>
              <a:gd name="connsiteX3" fmla="*/ 1323974 w 1638832"/>
              <a:gd name="connsiteY3" fmla="*/ 0 h 1079262"/>
              <a:gd name="connsiteX4" fmla="*/ 923925 w 1638832"/>
              <a:gd name="connsiteY4" fmla="*/ 426244 h 1079262"/>
              <a:gd name="connsiteX5" fmla="*/ 621506 w 1638832"/>
              <a:gd name="connsiteY5" fmla="*/ 771524 h 1079262"/>
              <a:gd name="connsiteX6" fmla="*/ 0 w 1638832"/>
              <a:gd name="connsiteY6" fmla="*/ 538161 h 1079262"/>
              <a:gd name="connsiteX0" fmla="*/ 0 w 1629379"/>
              <a:gd name="connsiteY0" fmla="*/ 538161 h 1066897"/>
              <a:gd name="connsiteX1" fmla="*/ 0 w 1629379"/>
              <a:gd name="connsiteY1" fmla="*/ 1066799 h 1066897"/>
              <a:gd name="connsiteX2" fmla="*/ 1616869 w 1629379"/>
              <a:gd name="connsiteY2" fmla="*/ 409574 h 1066897"/>
              <a:gd name="connsiteX3" fmla="*/ 1323974 w 1629379"/>
              <a:gd name="connsiteY3" fmla="*/ 0 h 1066897"/>
              <a:gd name="connsiteX4" fmla="*/ 923925 w 1629379"/>
              <a:gd name="connsiteY4" fmla="*/ 426244 h 1066897"/>
              <a:gd name="connsiteX5" fmla="*/ 621506 w 1629379"/>
              <a:gd name="connsiteY5" fmla="*/ 771524 h 1066897"/>
              <a:gd name="connsiteX6" fmla="*/ 0 w 1629379"/>
              <a:gd name="connsiteY6" fmla="*/ 538161 h 1066897"/>
              <a:gd name="connsiteX0" fmla="*/ 0 w 1620913"/>
              <a:gd name="connsiteY0" fmla="*/ 538161 h 1107877"/>
              <a:gd name="connsiteX1" fmla="*/ 0 w 1620913"/>
              <a:gd name="connsiteY1" fmla="*/ 1066799 h 1107877"/>
              <a:gd name="connsiteX2" fmla="*/ 1616869 w 1620913"/>
              <a:gd name="connsiteY2" fmla="*/ 409574 h 1107877"/>
              <a:gd name="connsiteX3" fmla="*/ 1323974 w 1620913"/>
              <a:gd name="connsiteY3" fmla="*/ 0 h 1107877"/>
              <a:gd name="connsiteX4" fmla="*/ 923925 w 1620913"/>
              <a:gd name="connsiteY4" fmla="*/ 426244 h 1107877"/>
              <a:gd name="connsiteX5" fmla="*/ 621506 w 1620913"/>
              <a:gd name="connsiteY5" fmla="*/ 771524 h 1107877"/>
              <a:gd name="connsiteX6" fmla="*/ 0 w 1620913"/>
              <a:gd name="connsiteY6" fmla="*/ 538161 h 1107877"/>
              <a:gd name="connsiteX0" fmla="*/ 0 w 1620913"/>
              <a:gd name="connsiteY0" fmla="*/ 538161 h 1218265"/>
              <a:gd name="connsiteX1" fmla="*/ 0 w 1620913"/>
              <a:gd name="connsiteY1" fmla="*/ 1066799 h 1218265"/>
              <a:gd name="connsiteX2" fmla="*/ 1616869 w 1620913"/>
              <a:gd name="connsiteY2" fmla="*/ 409574 h 1218265"/>
              <a:gd name="connsiteX3" fmla="*/ 1323974 w 1620913"/>
              <a:gd name="connsiteY3" fmla="*/ 0 h 1218265"/>
              <a:gd name="connsiteX4" fmla="*/ 923925 w 1620913"/>
              <a:gd name="connsiteY4" fmla="*/ 426244 h 1218265"/>
              <a:gd name="connsiteX5" fmla="*/ 621506 w 1620913"/>
              <a:gd name="connsiteY5" fmla="*/ 771524 h 1218265"/>
              <a:gd name="connsiteX6" fmla="*/ 0 w 1620913"/>
              <a:gd name="connsiteY6" fmla="*/ 538161 h 1218265"/>
              <a:gd name="connsiteX0" fmla="*/ 0 w 1620913"/>
              <a:gd name="connsiteY0" fmla="*/ 538161 h 1066799"/>
              <a:gd name="connsiteX1" fmla="*/ 0 w 1620913"/>
              <a:gd name="connsiteY1" fmla="*/ 1066799 h 1066799"/>
              <a:gd name="connsiteX2" fmla="*/ 1616869 w 1620913"/>
              <a:gd name="connsiteY2" fmla="*/ 409574 h 1066799"/>
              <a:gd name="connsiteX3" fmla="*/ 1323974 w 1620913"/>
              <a:gd name="connsiteY3" fmla="*/ 0 h 1066799"/>
              <a:gd name="connsiteX4" fmla="*/ 923925 w 1620913"/>
              <a:gd name="connsiteY4" fmla="*/ 426244 h 1066799"/>
              <a:gd name="connsiteX5" fmla="*/ 621506 w 1620913"/>
              <a:gd name="connsiteY5" fmla="*/ 771524 h 1066799"/>
              <a:gd name="connsiteX6" fmla="*/ 0 w 1620913"/>
              <a:gd name="connsiteY6" fmla="*/ 538161 h 1066799"/>
              <a:gd name="connsiteX0" fmla="*/ 0 w 1620913"/>
              <a:gd name="connsiteY0" fmla="*/ 538161 h 1213299"/>
              <a:gd name="connsiteX1" fmla="*/ 0 w 1620913"/>
              <a:gd name="connsiteY1" fmla="*/ 1066799 h 1213299"/>
              <a:gd name="connsiteX2" fmla="*/ 1616869 w 1620913"/>
              <a:gd name="connsiteY2" fmla="*/ 409574 h 1213299"/>
              <a:gd name="connsiteX3" fmla="*/ 1323974 w 1620913"/>
              <a:gd name="connsiteY3" fmla="*/ 0 h 1213299"/>
              <a:gd name="connsiteX4" fmla="*/ 923925 w 1620913"/>
              <a:gd name="connsiteY4" fmla="*/ 426244 h 1213299"/>
              <a:gd name="connsiteX5" fmla="*/ 621506 w 1620913"/>
              <a:gd name="connsiteY5" fmla="*/ 771524 h 1213299"/>
              <a:gd name="connsiteX6" fmla="*/ 0 w 1620913"/>
              <a:gd name="connsiteY6" fmla="*/ 538161 h 121329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32881"/>
              <a:gd name="connsiteY0" fmla="*/ 538161 h 1232035"/>
              <a:gd name="connsiteX1" fmla="*/ 0 w 1632881"/>
              <a:gd name="connsiteY1" fmla="*/ 1066799 h 1232035"/>
              <a:gd name="connsiteX2" fmla="*/ 1621631 w 1632881"/>
              <a:gd name="connsiteY2" fmla="*/ 523874 h 1232035"/>
              <a:gd name="connsiteX3" fmla="*/ 1323974 w 1632881"/>
              <a:gd name="connsiteY3" fmla="*/ 0 h 1232035"/>
              <a:gd name="connsiteX4" fmla="*/ 923925 w 1632881"/>
              <a:gd name="connsiteY4" fmla="*/ 426244 h 1232035"/>
              <a:gd name="connsiteX5" fmla="*/ 621506 w 1632881"/>
              <a:gd name="connsiteY5" fmla="*/ 771524 h 1232035"/>
              <a:gd name="connsiteX6" fmla="*/ 0 w 1632881"/>
              <a:gd name="connsiteY6" fmla="*/ 538161 h 1232035"/>
              <a:gd name="connsiteX0" fmla="*/ 0 w 1622936"/>
              <a:gd name="connsiteY0" fmla="*/ 538161 h 1236750"/>
              <a:gd name="connsiteX1" fmla="*/ 0 w 1622936"/>
              <a:gd name="connsiteY1" fmla="*/ 1066799 h 1236750"/>
              <a:gd name="connsiteX2" fmla="*/ 1621631 w 1622936"/>
              <a:gd name="connsiteY2" fmla="*/ 523874 h 1236750"/>
              <a:gd name="connsiteX3" fmla="*/ 1323974 w 1622936"/>
              <a:gd name="connsiteY3" fmla="*/ 0 h 1236750"/>
              <a:gd name="connsiteX4" fmla="*/ 923925 w 1622936"/>
              <a:gd name="connsiteY4" fmla="*/ 426244 h 1236750"/>
              <a:gd name="connsiteX5" fmla="*/ 621506 w 1622936"/>
              <a:gd name="connsiteY5" fmla="*/ 771524 h 1236750"/>
              <a:gd name="connsiteX6" fmla="*/ 0 w 1622936"/>
              <a:gd name="connsiteY6" fmla="*/ 538161 h 1236750"/>
              <a:gd name="connsiteX0" fmla="*/ 0 w 1627932"/>
              <a:gd name="connsiteY0" fmla="*/ 538161 h 1227283"/>
              <a:gd name="connsiteX1" fmla="*/ 0 w 1627932"/>
              <a:gd name="connsiteY1" fmla="*/ 1066799 h 1227283"/>
              <a:gd name="connsiteX2" fmla="*/ 1621631 w 1627932"/>
              <a:gd name="connsiteY2" fmla="*/ 523874 h 1227283"/>
              <a:gd name="connsiteX3" fmla="*/ 1323974 w 1627932"/>
              <a:gd name="connsiteY3" fmla="*/ 0 h 1227283"/>
              <a:gd name="connsiteX4" fmla="*/ 923925 w 1627932"/>
              <a:gd name="connsiteY4" fmla="*/ 426244 h 1227283"/>
              <a:gd name="connsiteX5" fmla="*/ 621506 w 1627932"/>
              <a:gd name="connsiteY5" fmla="*/ 771524 h 1227283"/>
              <a:gd name="connsiteX6" fmla="*/ 0 w 1627932"/>
              <a:gd name="connsiteY6" fmla="*/ 538161 h 1227283"/>
              <a:gd name="connsiteX0" fmla="*/ 0 w 1627932"/>
              <a:gd name="connsiteY0" fmla="*/ 538161 h 1066799"/>
              <a:gd name="connsiteX1" fmla="*/ 0 w 1627932"/>
              <a:gd name="connsiteY1" fmla="*/ 1066799 h 1066799"/>
              <a:gd name="connsiteX2" fmla="*/ 1621631 w 1627932"/>
              <a:gd name="connsiteY2" fmla="*/ 523874 h 1066799"/>
              <a:gd name="connsiteX3" fmla="*/ 1323974 w 1627932"/>
              <a:gd name="connsiteY3" fmla="*/ 0 h 1066799"/>
              <a:gd name="connsiteX4" fmla="*/ 923925 w 1627932"/>
              <a:gd name="connsiteY4" fmla="*/ 426244 h 1066799"/>
              <a:gd name="connsiteX5" fmla="*/ 621506 w 1627932"/>
              <a:gd name="connsiteY5" fmla="*/ 771524 h 1066799"/>
              <a:gd name="connsiteX6" fmla="*/ 0 w 1627932"/>
              <a:gd name="connsiteY6" fmla="*/ 538161 h 1066799"/>
              <a:gd name="connsiteX0" fmla="*/ 0 w 1627647"/>
              <a:gd name="connsiteY0" fmla="*/ 538161 h 1066799"/>
              <a:gd name="connsiteX1" fmla="*/ 0 w 1627647"/>
              <a:gd name="connsiteY1" fmla="*/ 1066799 h 1066799"/>
              <a:gd name="connsiteX2" fmla="*/ 1621631 w 1627647"/>
              <a:gd name="connsiteY2" fmla="*/ 523874 h 1066799"/>
              <a:gd name="connsiteX3" fmla="*/ 1323974 w 1627647"/>
              <a:gd name="connsiteY3" fmla="*/ 0 h 1066799"/>
              <a:gd name="connsiteX4" fmla="*/ 923925 w 1627647"/>
              <a:gd name="connsiteY4" fmla="*/ 426244 h 1066799"/>
              <a:gd name="connsiteX5" fmla="*/ 621506 w 1627647"/>
              <a:gd name="connsiteY5" fmla="*/ 771524 h 1066799"/>
              <a:gd name="connsiteX6" fmla="*/ 0 w 1627647"/>
              <a:gd name="connsiteY6" fmla="*/ 538161 h 1066799"/>
              <a:gd name="connsiteX0" fmla="*/ 0 w 1627647"/>
              <a:gd name="connsiteY0" fmla="*/ 538161 h 1066799"/>
              <a:gd name="connsiteX1" fmla="*/ 0 w 1627647"/>
              <a:gd name="connsiteY1" fmla="*/ 1066799 h 1066799"/>
              <a:gd name="connsiteX2" fmla="*/ 1621631 w 1627647"/>
              <a:gd name="connsiteY2" fmla="*/ 523874 h 1066799"/>
              <a:gd name="connsiteX3" fmla="*/ 1323974 w 1627647"/>
              <a:gd name="connsiteY3" fmla="*/ 0 h 1066799"/>
              <a:gd name="connsiteX4" fmla="*/ 923925 w 1627647"/>
              <a:gd name="connsiteY4" fmla="*/ 426244 h 1066799"/>
              <a:gd name="connsiteX5" fmla="*/ 621506 w 1627647"/>
              <a:gd name="connsiteY5" fmla="*/ 771524 h 1066799"/>
              <a:gd name="connsiteX6" fmla="*/ 0 w 1627647"/>
              <a:gd name="connsiteY6" fmla="*/ 538161 h 1066799"/>
              <a:gd name="connsiteX0" fmla="*/ 0 w 1627647"/>
              <a:gd name="connsiteY0" fmla="*/ 538161 h 1134969"/>
              <a:gd name="connsiteX1" fmla="*/ 0 w 1627647"/>
              <a:gd name="connsiteY1" fmla="*/ 1066799 h 1134969"/>
              <a:gd name="connsiteX2" fmla="*/ 1621631 w 1627647"/>
              <a:gd name="connsiteY2" fmla="*/ 523874 h 1134969"/>
              <a:gd name="connsiteX3" fmla="*/ 1323974 w 1627647"/>
              <a:gd name="connsiteY3" fmla="*/ 0 h 1134969"/>
              <a:gd name="connsiteX4" fmla="*/ 923925 w 1627647"/>
              <a:gd name="connsiteY4" fmla="*/ 426244 h 1134969"/>
              <a:gd name="connsiteX5" fmla="*/ 621506 w 1627647"/>
              <a:gd name="connsiteY5" fmla="*/ 771524 h 1134969"/>
              <a:gd name="connsiteX6" fmla="*/ 0 w 1627647"/>
              <a:gd name="connsiteY6" fmla="*/ 538161 h 1134969"/>
              <a:gd name="connsiteX0" fmla="*/ 0 w 1627647"/>
              <a:gd name="connsiteY0" fmla="*/ 538161 h 1213483"/>
              <a:gd name="connsiteX1" fmla="*/ 0 w 1627647"/>
              <a:gd name="connsiteY1" fmla="*/ 1066799 h 1213483"/>
              <a:gd name="connsiteX2" fmla="*/ 1621631 w 1627647"/>
              <a:gd name="connsiteY2" fmla="*/ 523874 h 1213483"/>
              <a:gd name="connsiteX3" fmla="*/ 1323974 w 1627647"/>
              <a:gd name="connsiteY3" fmla="*/ 0 h 1213483"/>
              <a:gd name="connsiteX4" fmla="*/ 923925 w 1627647"/>
              <a:gd name="connsiteY4" fmla="*/ 426244 h 1213483"/>
              <a:gd name="connsiteX5" fmla="*/ 621506 w 1627647"/>
              <a:gd name="connsiteY5" fmla="*/ 771524 h 1213483"/>
              <a:gd name="connsiteX6" fmla="*/ 0 w 1627647"/>
              <a:gd name="connsiteY6" fmla="*/ 538161 h 1213483"/>
              <a:gd name="connsiteX0" fmla="*/ 0 w 1627647"/>
              <a:gd name="connsiteY0" fmla="*/ 538161 h 1190326"/>
              <a:gd name="connsiteX1" fmla="*/ 0 w 1627647"/>
              <a:gd name="connsiteY1" fmla="*/ 1066799 h 1190326"/>
              <a:gd name="connsiteX2" fmla="*/ 1621631 w 1627647"/>
              <a:gd name="connsiteY2" fmla="*/ 523874 h 1190326"/>
              <a:gd name="connsiteX3" fmla="*/ 1323974 w 1627647"/>
              <a:gd name="connsiteY3" fmla="*/ 0 h 1190326"/>
              <a:gd name="connsiteX4" fmla="*/ 923925 w 1627647"/>
              <a:gd name="connsiteY4" fmla="*/ 426244 h 1190326"/>
              <a:gd name="connsiteX5" fmla="*/ 621506 w 1627647"/>
              <a:gd name="connsiteY5" fmla="*/ 771524 h 1190326"/>
              <a:gd name="connsiteX6" fmla="*/ 0 w 1627647"/>
              <a:gd name="connsiteY6" fmla="*/ 538161 h 1190326"/>
              <a:gd name="connsiteX0" fmla="*/ 0 w 1627647"/>
              <a:gd name="connsiteY0" fmla="*/ 538161 h 1219698"/>
              <a:gd name="connsiteX1" fmla="*/ 0 w 1627647"/>
              <a:gd name="connsiteY1" fmla="*/ 1066799 h 1219698"/>
              <a:gd name="connsiteX2" fmla="*/ 1621631 w 1627647"/>
              <a:gd name="connsiteY2" fmla="*/ 523874 h 1219698"/>
              <a:gd name="connsiteX3" fmla="*/ 1323974 w 1627647"/>
              <a:gd name="connsiteY3" fmla="*/ 0 h 1219698"/>
              <a:gd name="connsiteX4" fmla="*/ 923925 w 1627647"/>
              <a:gd name="connsiteY4" fmla="*/ 426244 h 1219698"/>
              <a:gd name="connsiteX5" fmla="*/ 621506 w 1627647"/>
              <a:gd name="connsiteY5" fmla="*/ 771524 h 1219698"/>
              <a:gd name="connsiteX6" fmla="*/ 0 w 1627647"/>
              <a:gd name="connsiteY6" fmla="*/ 538161 h 1219698"/>
              <a:gd name="connsiteX0" fmla="*/ 0 w 1627647"/>
              <a:gd name="connsiteY0" fmla="*/ 538161 h 1232307"/>
              <a:gd name="connsiteX1" fmla="*/ 0 w 1627647"/>
              <a:gd name="connsiteY1" fmla="*/ 1066799 h 1232307"/>
              <a:gd name="connsiteX2" fmla="*/ 1621631 w 1627647"/>
              <a:gd name="connsiteY2" fmla="*/ 523874 h 1232307"/>
              <a:gd name="connsiteX3" fmla="*/ 1323974 w 1627647"/>
              <a:gd name="connsiteY3" fmla="*/ 0 h 1232307"/>
              <a:gd name="connsiteX4" fmla="*/ 923925 w 1627647"/>
              <a:gd name="connsiteY4" fmla="*/ 426244 h 1232307"/>
              <a:gd name="connsiteX5" fmla="*/ 621506 w 1627647"/>
              <a:gd name="connsiteY5" fmla="*/ 771524 h 1232307"/>
              <a:gd name="connsiteX6" fmla="*/ 0 w 1627647"/>
              <a:gd name="connsiteY6" fmla="*/ 538161 h 1232307"/>
              <a:gd name="connsiteX0" fmla="*/ 0 w 1627647"/>
              <a:gd name="connsiteY0" fmla="*/ 538161 h 1217230"/>
              <a:gd name="connsiteX1" fmla="*/ 0 w 1627647"/>
              <a:gd name="connsiteY1" fmla="*/ 1066799 h 1217230"/>
              <a:gd name="connsiteX2" fmla="*/ 1621631 w 1627647"/>
              <a:gd name="connsiteY2" fmla="*/ 523874 h 1217230"/>
              <a:gd name="connsiteX3" fmla="*/ 1323974 w 1627647"/>
              <a:gd name="connsiteY3" fmla="*/ 0 h 1217230"/>
              <a:gd name="connsiteX4" fmla="*/ 923925 w 1627647"/>
              <a:gd name="connsiteY4" fmla="*/ 426244 h 1217230"/>
              <a:gd name="connsiteX5" fmla="*/ 621506 w 1627647"/>
              <a:gd name="connsiteY5" fmla="*/ 771524 h 1217230"/>
              <a:gd name="connsiteX6" fmla="*/ 0 w 1627647"/>
              <a:gd name="connsiteY6" fmla="*/ 538161 h 1217230"/>
              <a:gd name="connsiteX0" fmla="*/ 0 w 1627647"/>
              <a:gd name="connsiteY0" fmla="*/ 538161 h 1188997"/>
              <a:gd name="connsiteX1" fmla="*/ 0 w 1627647"/>
              <a:gd name="connsiteY1" fmla="*/ 1066799 h 1188997"/>
              <a:gd name="connsiteX2" fmla="*/ 1621631 w 1627647"/>
              <a:gd name="connsiteY2" fmla="*/ 523874 h 1188997"/>
              <a:gd name="connsiteX3" fmla="*/ 1323974 w 1627647"/>
              <a:gd name="connsiteY3" fmla="*/ 0 h 1188997"/>
              <a:gd name="connsiteX4" fmla="*/ 923925 w 1627647"/>
              <a:gd name="connsiteY4" fmla="*/ 426244 h 1188997"/>
              <a:gd name="connsiteX5" fmla="*/ 621506 w 1627647"/>
              <a:gd name="connsiteY5" fmla="*/ 771524 h 1188997"/>
              <a:gd name="connsiteX6" fmla="*/ 0 w 1627647"/>
              <a:gd name="connsiteY6" fmla="*/ 538161 h 1188997"/>
              <a:gd name="connsiteX0" fmla="*/ 0 w 1627647"/>
              <a:gd name="connsiteY0" fmla="*/ 538161 h 1216261"/>
              <a:gd name="connsiteX1" fmla="*/ 0 w 1627647"/>
              <a:gd name="connsiteY1" fmla="*/ 1066799 h 1216261"/>
              <a:gd name="connsiteX2" fmla="*/ 1621631 w 1627647"/>
              <a:gd name="connsiteY2" fmla="*/ 523874 h 1216261"/>
              <a:gd name="connsiteX3" fmla="*/ 1323974 w 1627647"/>
              <a:gd name="connsiteY3" fmla="*/ 0 h 1216261"/>
              <a:gd name="connsiteX4" fmla="*/ 923925 w 1627647"/>
              <a:gd name="connsiteY4" fmla="*/ 426244 h 1216261"/>
              <a:gd name="connsiteX5" fmla="*/ 621506 w 1627647"/>
              <a:gd name="connsiteY5" fmla="*/ 771524 h 1216261"/>
              <a:gd name="connsiteX6" fmla="*/ 0 w 1627647"/>
              <a:gd name="connsiteY6" fmla="*/ 538161 h 1216261"/>
              <a:gd name="connsiteX0" fmla="*/ 0 w 1627647"/>
              <a:gd name="connsiteY0" fmla="*/ 538161 h 1206398"/>
              <a:gd name="connsiteX1" fmla="*/ 0 w 1627647"/>
              <a:gd name="connsiteY1" fmla="*/ 1066799 h 1206398"/>
              <a:gd name="connsiteX2" fmla="*/ 1621631 w 1627647"/>
              <a:gd name="connsiteY2" fmla="*/ 523874 h 1206398"/>
              <a:gd name="connsiteX3" fmla="*/ 1323974 w 1627647"/>
              <a:gd name="connsiteY3" fmla="*/ 0 h 1206398"/>
              <a:gd name="connsiteX4" fmla="*/ 923925 w 1627647"/>
              <a:gd name="connsiteY4" fmla="*/ 426244 h 1206398"/>
              <a:gd name="connsiteX5" fmla="*/ 621506 w 1627647"/>
              <a:gd name="connsiteY5" fmla="*/ 771524 h 1206398"/>
              <a:gd name="connsiteX6" fmla="*/ 0 w 1627647"/>
              <a:gd name="connsiteY6" fmla="*/ 538161 h 1206398"/>
              <a:gd name="connsiteX0" fmla="*/ 0 w 1627647"/>
              <a:gd name="connsiteY0" fmla="*/ 538161 h 1218880"/>
              <a:gd name="connsiteX1" fmla="*/ 0 w 1627647"/>
              <a:gd name="connsiteY1" fmla="*/ 1066799 h 1218880"/>
              <a:gd name="connsiteX2" fmla="*/ 1621631 w 1627647"/>
              <a:gd name="connsiteY2" fmla="*/ 523874 h 1218880"/>
              <a:gd name="connsiteX3" fmla="*/ 1323974 w 1627647"/>
              <a:gd name="connsiteY3" fmla="*/ 0 h 1218880"/>
              <a:gd name="connsiteX4" fmla="*/ 923925 w 1627647"/>
              <a:gd name="connsiteY4" fmla="*/ 426244 h 1218880"/>
              <a:gd name="connsiteX5" fmla="*/ 621506 w 1627647"/>
              <a:gd name="connsiteY5" fmla="*/ 771524 h 1218880"/>
              <a:gd name="connsiteX6" fmla="*/ 0 w 1627647"/>
              <a:gd name="connsiteY6" fmla="*/ 538161 h 1218880"/>
              <a:gd name="connsiteX0" fmla="*/ 0 w 1627647"/>
              <a:gd name="connsiteY0" fmla="*/ 538161 h 1211596"/>
              <a:gd name="connsiteX1" fmla="*/ 0 w 1627647"/>
              <a:gd name="connsiteY1" fmla="*/ 1066799 h 1211596"/>
              <a:gd name="connsiteX2" fmla="*/ 1621631 w 1627647"/>
              <a:gd name="connsiteY2" fmla="*/ 523874 h 1211596"/>
              <a:gd name="connsiteX3" fmla="*/ 1323974 w 1627647"/>
              <a:gd name="connsiteY3" fmla="*/ 0 h 1211596"/>
              <a:gd name="connsiteX4" fmla="*/ 923925 w 1627647"/>
              <a:gd name="connsiteY4" fmla="*/ 426244 h 1211596"/>
              <a:gd name="connsiteX5" fmla="*/ 621506 w 1627647"/>
              <a:gd name="connsiteY5" fmla="*/ 771524 h 1211596"/>
              <a:gd name="connsiteX6" fmla="*/ 0 w 1627647"/>
              <a:gd name="connsiteY6" fmla="*/ 538161 h 1211596"/>
              <a:gd name="connsiteX0" fmla="*/ 0 w 1627647"/>
              <a:gd name="connsiteY0" fmla="*/ 538161 h 1217962"/>
              <a:gd name="connsiteX1" fmla="*/ 0 w 1627647"/>
              <a:gd name="connsiteY1" fmla="*/ 1066799 h 1217962"/>
              <a:gd name="connsiteX2" fmla="*/ 1621631 w 1627647"/>
              <a:gd name="connsiteY2" fmla="*/ 523874 h 1217962"/>
              <a:gd name="connsiteX3" fmla="*/ 1323974 w 1627647"/>
              <a:gd name="connsiteY3" fmla="*/ 0 h 1217962"/>
              <a:gd name="connsiteX4" fmla="*/ 923925 w 1627647"/>
              <a:gd name="connsiteY4" fmla="*/ 426244 h 1217962"/>
              <a:gd name="connsiteX5" fmla="*/ 621506 w 1627647"/>
              <a:gd name="connsiteY5" fmla="*/ 771524 h 1217962"/>
              <a:gd name="connsiteX6" fmla="*/ 0 w 1627647"/>
              <a:gd name="connsiteY6" fmla="*/ 538161 h 1217962"/>
              <a:gd name="connsiteX0" fmla="*/ 0 w 1627647"/>
              <a:gd name="connsiteY0" fmla="*/ 538161 h 1218399"/>
              <a:gd name="connsiteX1" fmla="*/ 0 w 1627647"/>
              <a:gd name="connsiteY1" fmla="*/ 1066799 h 1218399"/>
              <a:gd name="connsiteX2" fmla="*/ 1621631 w 1627647"/>
              <a:gd name="connsiteY2" fmla="*/ 523874 h 1218399"/>
              <a:gd name="connsiteX3" fmla="*/ 1323974 w 1627647"/>
              <a:gd name="connsiteY3" fmla="*/ 0 h 1218399"/>
              <a:gd name="connsiteX4" fmla="*/ 923925 w 1627647"/>
              <a:gd name="connsiteY4" fmla="*/ 426244 h 1218399"/>
              <a:gd name="connsiteX5" fmla="*/ 621506 w 1627647"/>
              <a:gd name="connsiteY5" fmla="*/ 771524 h 1218399"/>
              <a:gd name="connsiteX6" fmla="*/ 0 w 1627647"/>
              <a:gd name="connsiteY6" fmla="*/ 538161 h 1218399"/>
              <a:gd name="connsiteX0" fmla="*/ 0 w 1627647"/>
              <a:gd name="connsiteY0" fmla="*/ 538161 h 1212839"/>
              <a:gd name="connsiteX1" fmla="*/ 0 w 1627647"/>
              <a:gd name="connsiteY1" fmla="*/ 1066799 h 1212839"/>
              <a:gd name="connsiteX2" fmla="*/ 1621631 w 1627647"/>
              <a:gd name="connsiteY2" fmla="*/ 523874 h 1212839"/>
              <a:gd name="connsiteX3" fmla="*/ 1323974 w 1627647"/>
              <a:gd name="connsiteY3" fmla="*/ 0 h 1212839"/>
              <a:gd name="connsiteX4" fmla="*/ 923925 w 1627647"/>
              <a:gd name="connsiteY4" fmla="*/ 426244 h 1212839"/>
              <a:gd name="connsiteX5" fmla="*/ 621506 w 1627647"/>
              <a:gd name="connsiteY5" fmla="*/ 771524 h 1212839"/>
              <a:gd name="connsiteX6" fmla="*/ 0 w 1627647"/>
              <a:gd name="connsiteY6" fmla="*/ 538161 h 1212839"/>
              <a:gd name="connsiteX0" fmla="*/ 0 w 1627647"/>
              <a:gd name="connsiteY0" fmla="*/ 538161 h 1212839"/>
              <a:gd name="connsiteX1" fmla="*/ 0 w 1627647"/>
              <a:gd name="connsiteY1" fmla="*/ 1066799 h 1212839"/>
              <a:gd name="connsiteX2" fmla="*/ 1621631 w 1627647"/>
              <a:gd name="connsiteY2" fmla="*/ 523874 h 1212839"/>
              <a:gd name="connsiteX3" fmla="*/ 1323974 w 1627647"/>
              <a:gd name="connsiteY3" fmla="*/ 0 h 1212839"/>
              <a:gd name="connsiteX4" fmla="*/ 1078707 w 1627647"/>
              <a:gd name="connsiteY4" fmla="*/ 257177 h 1212839"/>
              <a:gd name="connsiteX5" fmla="*/ 923925 w 1627647"/>
              <a:gd name="connsiteY5" fmla="*/ 426244 h 1212839"/>
              <a:gd name="connsiteX6" fmla="*/ 621506 w 1627647"/>
              <a:gd name="connsiteY6" fmla="*/ 771524 h 1212839"/>
              <a:gd name="connsiteX7" fmla="*/ 0 w 1627647"/>
              <a:gd name="connsiteY7" fmla="*/ 538161 h 1212839"/>
              <a:gd name="connsiteX0" fmla="*/ 0 w 1627647"/>
              <a:gd name="connsiteY0" fmla="*/ 538161 h 1212839"/>
              <a:gd name="connsiteX1" fmla="*/ 0 w 1627647"/>
              <a:gd name="connsiteY1" fmla="*/ 1066799 h 1212839"/>
              <a:gd name="connsiteX2" fmla="*/ 1621631 w 1627647"/>
              <a:gd name="connsiteY2" fmla="*/ 523874 h 1212839"/>
              <a:gd name="connsiteX3" fmla="*/ 1323974 w 1627647"/>
              <a:gd name="connsiteY3" fmla="*/ 0 h 1212839"/>
              <a:gd name="connsiteX4" fmla="*/ 595313 w 1627647"/>
              <a:gd name="connsiteY4" fmla="*/ 185739 h 1212839"/>
              <a:gd name="connsiteX5" fmla="*/ 923925 w 1627647"/>
              <a:gd name="connsiteY5" fmla="*/ 426244 h 1212839"/>
              <a:gd name="connsiteX6" fmla="*/ 621506 w 1627647"/>
              <a:gd name="connsiteY6" fmla="*/ 771524 h 1212839"/>
              <a:gd name="connsiteX7" fmla="*/ 0 w 1627647"/>
              <a:gd name="connsiteY7" fmla="*/ 538161 h 1212839"/>
              <a:gd name="connsiteX0" fmla="*/ 0 w 1627647"/>
              <a:gd name="connsiteY0" fmla="*/ 538161 h 1212839"/>
              <a:gd name="connsiteX1" fmla="*/ 0 w 1627647"/>
              <a:gd name="connsiteY1" fmla="*/ 1066799 h 1212839"/>
              <a:gd name="connsiteX2" fmla="*/ 1621631 w 1627647"/>
              <a:gd name="connsiteY2" fmla="*/ 523874 h 1212839"/>
              <a:gd name="connsiteX3" fmla="*/ 1323974 w 1627647"/>
              <a:gd name="connsiteY3" fmla="*/ 0 h 1212839"/>
              <a:gd name="connsiteX4" fmla="*/ 973932 w 1627647"/>
              <a:gd name="connsiteY4" fmla="*/ 85727 h 1212839"/>
              <a:gd name="connsiteX5" fmla="*/ 595313 w 1627647"/>
              <a:gd name="connsiteY5" fmla="*/ 185739 h 1212839"/>
              <a:gd name="connsiteX6" fmla="*/ 923925 w 1627647"/>
              <a:gd name="connsiteY6" fmla="*/ 426244 h 1212839"/>
              <a:gd name="connsiteX7" fmla="*/ 621506 w 1627647"/>
              <a:gd name="connsiteY7" fmla="*/ 771524 h 1212839"/>
              <a:gd name="connsiteX8" fmla="*/ 0 w 1627647"/>
              <a:gd name="connsiteY8" fmla="*/ 538161 h 1212839"/>
              <a:gd name="connsiteX0" fmla="*/ 0 w 1627647"/>
              <a:gd name="connsiteY0" fmla="*/ 745328 h 1420006"/>
              <a:gd name="connsiteX1" fmla="*/ 0 w 1627647"/>
              <a:gd name="connsiteY1" fmla="*/ 1273966 h 1420006"/>
              <a:gd name="connsiteX2" fmla="*/ 1621631 w 1627647"/>
              <a:gd name="connsiteY2" fmla="*/ 731041 h 1420006"/>
              <a:gd name="connsiteX3" fmla="*/ 1323974 w 1627647"/>
              <a:gd name="connsiteY3" fmla="*/ 207167 h 1420006"/>
              <a:gd name="connsiteX4" fmla="*/ 835820 w 1627647"/>
              <a:gd name="connsiteY4" fmla="*/ 0 h 1420006"/>
              <a:gd name="connsiteX5" fmla="*/ 595313 w 1627647"/>
              <a:gd name="connsiteY5" fmla="*/ 392906 h 1420006"/>
              <a:gd name="connsiteX6" fmla="*/ 923925 w 1627647"/>
              <a:gd name="connsiteY6" fmla="*/ 633411 h 1420006"/>
              <a:gd name="connsiteX7" fmla="*/ 621506 w 1627647"/>
              <a:gd name="connsiteY7" fmla="*/ 978691 h 1420006"/>
              <a:gd name="connsiteX8" fmla="*/ 0 w 1627647"/>
              <a:gd name="connsiteY8" fmla="*/ 745328 h 1420006"/>
              <a:gd name="connsiteX0" fmla="*/ 0 w 1591281"/>
              <a:gd name="connsiteY0" fmla="*/ 745328 h 1469663"/>
              <a:gd name="connsiteX1" fmla="*/ 0 w 1591281"/>
              <a:gd name="connsiteY1" fmla="*/ 1273966 h 1469663"/>
              <a:gd name="connsiteX2" fmla="*/ 1574006 w 1591281"/>
              <a:gd name="connsiteY2" fmla="*/ 928685 h 1469663"/>
              <a:gd name="connsiteX3" fmla="*/ 1323974 w 1591281"/>
              <a:gd name="connsiteY3" fmla="*/ 207167 h 1469663"/>
              <a:gd name="connsiteX4" fmla="*/ 835820 w 1591281"/>
              <a:gd name="connsiteY4" fmla="*/ 0 h 1469663"/>
              <a:gd name="connsiteX5" fmla="*/ 595313 w 1591281"/>
              <a:gd name="connsiteY5" fmla="*/ 392906 h 1469663"/>
              <a:gd name="connsiteX6" fmla="*/ 923925 w 1591281"/>
              <a:gd name="connsiteY6" fmla="*/ 633411 h 1469663"/>
              <a:gd name="connsiteX7" fmla="*/ 621506 w 1591281"/>
              <a:gd name="connsiteY7" fmla="*/ 978691 h 1469663"/>
              <a:gd name="connsiteX8" fmla="*/ 0 w 1591281"/>
              <a:gd name="connsiteY8" fmla="*/ 745328 h 1469663"/>
              <a:gd name="connsiteX0" fmla="*/ 0 w 1591281"/>
              <a:gd name="connsiteY0" fmla="*/ 745328 h 1425021"/>
              <a:gd name="connsiteX1" fmla="*/ 0 w 1591281"/>
              <a:gd name="connsiteY1" fmla="*/ 1273966 h 1425021"/>
              <a:gd name="connsiteX2" fmla="*/ 1574006 w 1591281"/>
              <a:gd name="connsiteY2" fmla="*/ 928685 h 1425021"/>
              <a:gd name="connsiteX3" fmla="*/ 1323974 w 1591281"/>
              <a:gd name="connsiteY3" fmla="*/ 207167 h 1425021"/>
              <a:gd name="connsiteX4" fmla="*/ 835820 w 1591281"/>
              <a:gd name="connsiteY4" fmla="*/ 0 h 1425021"/>
              <a:gd name="connsiteX5" fmla="*/ 595313 w 1591281"/>
              <a:gd name="connsiteY5" fmla="*/ 392906 h 1425021"/>
              <a:gd name="connsiteX6" fmla="*/ 923925 w 1591281"/>
              <a:gd name="connsiteY6" fmla="*/ 633411 h 1425021"/>
              <a:gd name="connsiteX7" fmla="*/ 621506 w 1591281"/>
              <a:gd name="connsiteY7" fmla="*/ 978691 h 1425021"/>
              <a:gd name="connsiteX8" fmla="*/ 0 w 1591281"/>
              <a:gd name="connsiteY8" fmla="*/ 745328 h 1425021"/>
              <a:gd name="connsiteX0" fmla="*/ 0 w 1622856"/>
              <a:gd name="connsiteY0" fmla="*/ 745328 h 1425021"/>
              <a:gd name="connsiteX1" fmla="*/ 0 w 1622856"/>
              <a:gd name="connsiteY1" fmla="*/ 1273966 h 1425021"/>
              <a:gd name="connsiteX2" fmla="*/ 1574006 w 1622856"/>
              <a:gd name="connsiteY2" fmla="*/ 928685 h 1425021"/>
              <a:gd name="connsiteX3" fmla="*/ 1323974 w 1622856"/>
              <a:gd name="connsiteY3" fmla="*/ 207167 h 1425021"/>
              <a:gd name="connsiteX4" fmla="*/ 835820 w 1622856"/>
              <a:gd name="connsiteY4" fmla="*/ 0 h 1425021"/>
              <a:gd name="connsiteX5" fmla="*/ 595313 w 1622856"/>
              <a:gd name="connsiteY5" fmla="*/ 392906 h 1425021"/>
              <a:gd name="connsiteX6" fmla="*/ 923925 w 1622856"/>
              <a:gd name="connsiteY6" fmla="*/ 633411 h 1425021"/>
              <a:gd name="connsiteX7" fmla="*/ 621506 w 1622856"/>
              <a:gd name="connsiteY7" fmla="*/ 978691 h 1425021"/>
              <a:gd name="connsiteX8" fmla="*/ 0 w 1622856"/>
              <a:gd name="connsiteY8" fmla="*/ 745328 h 1425021"/>
              <a:gd name="connsiteX0" fmla="*/ 0 w 1608710"/>
              <a:gd name="connsiteY0" fmla="*/ 745328 h 1425021"/>
              <a:gd name="connsiteX1" fmla="*/ 0 w 1608710"/>
              <a:gd name="connsiteY1" fmla="*/ 1273966 h 1425021"/>
              <a:gd name="connsiteX2" fmla="*/ 1574006 w 1608710"/>
              <a:gd name="connsiteY2" fmla="*/ 928685 h 1425021"/>
              <a:gd name="connsiteX3" fmla="*/ 1264443 w 1608710"/>
              <a:gd name="connsiteY3" fmla="*/ 166686 h 1425021"/>
              <a:gd name="connsiteX4" fmla="*/ 835820 w 1608710"/>
              <a:gd name="connsiteY4" fmla="*/ 0 h 1425021"/>
              <a:gd name="connsiteX5" fmla="*/ 595313 w 1608710"/>
              <a:gd name="connsiteY5" fmla="*/ 392906 h 1425021"/>
              <a:gd name="connsiteX6" fmla="*/ 923925 w 1608710"/>
              <a:gd name="connsiteY6" fmla="*/ 633411 h 1425021"/>
              <a:gd name="connsiteX7" fmla="*/ 621506 w 1608710"/>
              <a:gd name="connsiteY7" fmla="*/ 978691 h 1425021"/>
              <a:gd name="connsiteX8" fmla="*/ 0 w 1608710"/>
              <a:gd name="connsiteY8" fmla="*/ 745328 h 1425021"/>
              <a:gd name="connsiteX0" fmla="*/ 0 w 1623138"/>
              <a:gd name="connsiteY0" fmla="*/ 745328 h 1425021"/>
              <a:gd name="connsiteX1" fmla="*/ 0 w 1623138"/>
              <a:gd name="connsiteY1" fmla="*/ 1273966 h 1425021"/>
              <a:gd name="connsiteX2" fmla="*/ 1574006 w 1623138"/>
              <a:gd name="connsiteY2" fmla="*/ 928685 h 1425021"/>
              <a:gd name="connsiteX3" fmla="*/ 1264443 w 1623138"/>
              <a:gd name="connsiteY3" fmla="*/ 166686 h 1425021"/>
              <a:gd name="connsiteX4" fmla="*/ 835820 w 1623138"/>
              <a:gd name="connsiteY4" fmla="*/ 0 h 1425021"/>
              <a:gd name="connsiteX5" fmla="*/ 595313 w 1623138"/>
              <a:gd name="connsiteY5" fmla="*/ 392906 h 1425021"/>
              <a:gd name="connsiteX6" fmla="*/ 923925 w 1623138"/>
              <a:gd name="connsiteY6" fmla="*/ 633411 h 1425021"/>
              <a:gd name="connsiteX7" fmla="*/ 621506 w 1623138"/>
              <a:gd name="connsiteY7" fmla="*/ 978691 h 1425021"/>
              <a:gd name="connsiteX8" fmla="*/ 0 w 1623138"/>
              <a:gd name="connsiteY8" fmla="*/ 745328 h 1425021"/>
              <a:gd name="connsiteX0" fmla="*/ 0 w 1623138"/>
              <a:gd name="connsiteY0" fmla="*/ 745328 h 1425021"/>
              <a:gd name="connsiteX1" fmla="*/ 0 w 1623138"/>
              <a:gd name="connsiteY1" fmla="*/ 1273966 h 1425021"/>
              <a:gd name="connsiteX2" fmla="*/ 1574006 w 1623138"/>
              <a:gd name="connsiteY2" fmla="*/ 928685 h 1425021"/>
              <a:gd name="connsiteX3" fmla="*/ 1264443 w 1623138"/>
              <a:gd name="connsiteY3" fmla="*/ 166686 h 1425021"/>
              <a:gd name="connsiteX4" fmla="*/ 835820 w 1623138"/>
              <a:gd name="connsiteY4" fmla="*/ 0 h 1425021"/>
              <a:gd name="connsiteX5" fmla="*/ 595313 w 1623138"/>
              <a:gd name="connsiteY5" fmla="*/ 392906 h 1425021"/>
              <a:gd name="connsiteX6" fmla="*/ 923925 w 1623138"/>
              <a:gd name="connsiteY6" fmla="*/ 633411 h 1425021"/>
              <a:gd name="connsiteX7" fmla="*/ 621506 w 1623138"/>
              <a:gd name="connsiteY7" fmla="*/ 978691 h 1425021"/>
              <a:gd name="connsiteX8" fmla="*/ 0 w 1623138"/>
              <a:gd name="connsiteY8" fmla="*/ 745328 h 1425021"/>
              <a:gd name="connsiteX0" fmla="*/ 0 w 1623138"/>
              <a:gd name="connsiteY0" fmla="*/ 745328 h 1425021"/>
              <a:gd name="connsiteX1" fmla="*/ 0 w 1623138"/>
              <a:gd name="connsiteY1" fmla="*/ 1273966 h 1425021"/>
              <a:gd name="connsiteX2" fmla="*/ 1574006 w 1623138"/>
              <a:gd name="connsiteY2" fmla="*/ 928685 h 1425021"/>
              <a:gd name="connsiteX3" fmla="*/ 1264443 w 1623138"/>
              <a:gd name="connsiteY3" fmla="*/ 166686 h 1425021"/>
              <a:gd name="connsiteX4" fmla="*/ 835820 w 1623138"/>
              <a:gd name="connsiteY4" fmla="*/ 0 h 1425021"/>
              <a:gd name="connsiteX5" fmla="*/ 709613 w 1623138"/>
              <a:gd name="connsiteY5" fmla="*/ 207169 h 1425021"/>
              <a:gd name="connsiteX6" fmla="*/ 595313 w 1623138"/>
              <a:gd name="connsiteY6" fmla="*/ 392906 h 1425021"/>
              <a:gd name="connsiteX7" fmla="*/ 923925 w 1623138"/>
              <a:gd name="connsiteY7" fmla="*/ 633411 h 1425021"/>
              <a:gd name="connsiteX8" fmla="*/ 621506 w 1623138"/>
              <a:gd name="connsiteY8" fmla="*/ 978691 h 1425021"/>
              <a:gd name="connsiteX9" fmla="*/ 0 w 1623138"/>
              <a:gd name="connsiteY9" fmla="*/ 745328 h 1425021"/>
              <a:gd name="connsiteX0" fmla="*/ 0 w 1623138"/>
              <a:gd name="connsiteY0" fmla="*/ 797716 h 1477409"/>
              <a:gd name="connsiteX1" fmla="*/ 0 w 1623138"/>
              <a:gd name="connsiteY1" fmla="*/ 1326354 h 1477409"/>
              <a:gd name="connsiteX2" fmla="*/ 1574006 w 1623138"/>
              <a:gd name="connsiteY2" fmla="*/ 981073 h 1477409"/>
              <a:gd name="connsiteX3" fmla="*/ 1264443 w 1623138"/>
              <a:gd name="connsiteY3" fmla="*/ 219074 h 1477409"/>
              <a:gd name="connsiteX4" fmla="*/ 835820 w 1623138"/>
              <a:gd name="connsiteY4" fmla="*/ 52388 h 1477409"/>
              <a:gd name="connsiteX5" fmla="*/ 421482 w 1623138"/>
              <a:gd name="connsiteY5" fmla="*/ 0 h 1477409"/>
              <a:gd name="connsiteX6" fmla="*/ 595313 w 1623138"/>
              <a:gd name="connsiteY6" fmla="*/ 445294 h 1477409"/>
              <a:gd name="connsiteX7" fmla="*/ 923925 w 1623138"/>
              <a:gd name="connsiteY7" fmla="*/ 685799 h 1477409"/>
              <a:gd name="connsiteX8" fmla="*/ 621506 w 1623138"/>
              <a:gd name="connsiteY8" fmla="*/ 1031079 h 1477409"/>
              <a:gd name="connsiteX9" fmla="*/ 0 w 1623138"/>
              <a:gd name="connsiteY9" fmla="*/ 797716 h 1477409"/>
              <a:gd name="connsiteX0" fmla="*/ 0 w 1623138"/>
              <a:gd name="connsiteY0" fmla="*/ 797716 h 1477409"/>
              <a:gd name="connsiteX1" fmla="*/ 0 w 1623138"/>
              <a:gd name="connsiteY1" fmla="*/ 1326354 h 1477409"/>
              <a:gd name="connsiteX2" fmla="*/ 1574006 w 1623138"/>
              <a:gd name="connsiteY2" fmla="*/ 981073 h 1477409"/>
              <a:gd name="connsiteX3" fmla="*/ 1264443 w 1623138"/>
              <a:gd name="connsiteY3" fmla="*/ 219074 h 1477409"/>
              <a:gd name="connsiteX4" fmla="*/ 835820 w 1623138"/>
              <a:gd name="connsiteY4" fmla="*/ 52388 h 1477409"/>
              <a:gd name="connsiteX5" fmla="*/ 654844 w 1623138"/>
              <a:gd name="connsiteY5" fmla="*/ 26194 h 1477409"/>
              <a:gd name="connsiteX6" fmla="*/ 421482 w 1623138"/>
              <a:gd name="connsiteY6" fmla="*/ 0 h 1477409"/>
              <a:gd name="connsiteX7" fmla="*/ 595313 w 1623138"/>
              <a:gd name="connsiteY7" fmla="*/ 445294 h 1477409"/>
              <a:gd name="connsiteX8" fmla="*/ 923925 w 1623138"/>
              <a:gd name="connsiteY8" fmla="*/ 685799 h 1477409"/>
              <a:gd name="connsiteX9" fmla="*/ 621506 w 1623138"/>
              <a:gd name="connsiteY9" fmla="*/ 1031079 h 1477409"/>
              <a:gd name="connsiteX10" fmla="*/ 0 w 1623138"/>
              <a:gd name="connsiteY10" fmla="*/ 797716 h 1477409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652572"/>
              <a:gd name="connsiteX1" fmla="*/ 0 w 1623138"/>
              <a:gd name="connsiteY1" fmla="*/ 1647822 h 1652572"/>
              <a:gd name="connsiteX2" fmla="*/ 1574006 w 1623138"/>
              <a:gd name="connsiteY2" fmla="*/ 1302541 h 1652572"/>
              <a:gd name="connsiteX3" fmla="*/ 1264443 w 1623138"/>
              <a:gd name="connsiteY3" fmla="*/ 540542 h 1652572"/>
              <a:gd name="connsiteX4" fmla="*/ 835820 w 1623138"/>
              <a:gd name="connsiteY4" fmla="*/ 373856 h 1652572"/>
              <a:gd name="connsiteX5" fmla="*/ 807244 w 1623138"/>
              <a:gd name="connsiteY5" fmla="*/ 0 h 1652572"/>
              <a:gd name="connsiteX6" fmla="*/ 421482 w 1623138"/>
              <a:gd name="connsiteY6" fmla="*/ 321468 h 1652572"/>
              <a:gd name="connsiteX7" fmla="*/ 595313 w 1623138"/>
              <a:gd name="connsiteY7" fmla="*/ 766762 h 1652572"/>
              <a:gd name="connsiteX8" fmla="*/ 923925 w 1623138"/>
              <a:gd name="connsiteY8" fmla="*/ 1007267 h 1652572"/>
              <a:gd name="connsiteX9" fmla="*/ 621506 w 1623138"/>
              <a:gd name="connsiteY9" fmla="*/ 1352547 h 1652572"/>
              <a:gd name="connsiteX10" fmla="*/ 0 w 1623138"/>
              <a:gd name="connsiteY10" fmla="*/ 1119184 h 1652572"/>
              <a:gd name="connsiteX0" fmla="*/ 0 w 1627271"/>
              <a:gd name="connsiteY0" fmla="*/ 1119184 h 1712926"/>
              <a:gd name="connsiteX1" fmla="*/ 0 w 1627271"/>
              <a:gd name="connsiteY1" fmla="*/ 1647822 h 1712926"/>
              <a:gd name="connsiteX2" fmla="*/ 1574006 w 1627271"/>
              <a:gd name="connsiteY2" fmla="*/ 1302541 h 1712926"/>
              <a:gd name="connsiteX3" fmla="*/ 1264443 w 1627271"/>
              <a:gd name="connsiteY3" fmla="*/ 540542 h 1712926"/>
              <a:gd name="connsiteX4" fmla="*/ 835820 w 1627271"/>
              <a:gd name="connsiteY4" fmla="*/ 373856 h 1712926"/>
              <a:gd name="connsiteX5" fmla="*/ 807244 w 1627271"/>
              <a:gd name="connsiteY5" fmla="*/ 0 h 1712926"/>
              <a:gd name="connsiteX6" fmla="*/ 421482 w 1627271"/>
              <a:gd name="connsiteY6" fmla="*/ 321468 h 1712926"/>
              <a:gd name="connsiteX7" fmla="*/ 595313 w 1627271"/>
              <a:gd name="connsiteY7" fmla="*/ 766762 h 1712926"/>
              <a:gd name="connsiteX8" fmla="*/ 923925 w 1627271"/>
              <a:gd name="connsiteY8" fmla="*/ 1007267 h 1712926"/>
              <a:gd name="connsiteX9" fmla="*/ 621506 w 1627271"/>
              <a:gd name="connsiteY9" fmla="*/ 1352547 h 1712926"/>
              <a:gd name="connsiteX10" fmla="*/ 0 w 1627271"/>
              <a:gd name="connsiteY10" fmla="*/ 1119184 h 1712926"/>
              <a:gd name="connsiteX0" fmla="*/ 0 w 1627271"/>
              <a:gd name="connsiteY0" fmla="*/ 1119184 h 1797816"/>
              <a:gd name="connsiteX1" fmla="*/ 0 w 1627271"/>
              <a:gd name="connsiteY1" fmla="*/ 1647822 h 1797816"/>
              <a:gd name="connsiteX2" fmla="*/ 1574006 w 1627271"/>
              <a:gd name="connsiteY2" fmla="*/ 1302541 h 1797816"/>
              <a:gd name="connsiteX3" fmla="*/ 1264443 w 1627271"/>
              <a:gd name="connsiteY3" fmla="*/ 540542 h 1797816"/>
              <a:gd name="connsiteX4" fmla="*/ 835820 w 1627271"/>
              <a:gd name="connsiteY4" fmla="*/ 373856 h 1797816"/>
              <a:gd name="connsiteX5" fmla="*/ 807244 w 1627271"/>
              <a:gd name="connsiteY5" fmla="*/ 0 h 1797816"/>
              <a:gd name="connsiteX6" fmla="*/ 421482 w 1627271"/>
              <a:gd name="connsiteY6" fmla="*/ 321468 h 1797816"/>
              <a:gd name="connsiteX7" fmla="*/ 595313 w 1627271"/>
              <a:gd name="connsiteY7" fmla="*/ 766762 h 1797816"/>
              <a:gd name="connsiteX8" fmla="*/ 923925 w 1627271"/>
              <a:gd name="connsiteY8" fmla="*/ 1007267 h 1797816"/>
              <a:gd name="connsiteX9" fmla="*/ 621506 w 1627271"/>
              <a:gd name="connsiteY9" fmla="*/ 1352547 h 1797816"/>
              <a:gd name="connsiteX10" fmla="*/ 0 w 1627271"/>
              <a:gd name="connsiteY10" fmla="*/ 1119184 h 1797816"/>
              <a:gd name="connsiteX0" fmla="*/ 0 w 1622231"/>
              <a:gd name="connsiteY0" fmla="*/ 1119184 h 1773253"/>
              <a:gd name="connsiteX1" fmla="*/ 0 w 1622231"/>
              <a:gd name="connsiteY1" fmla="*/ 1647822 h 1773253"/>
              <a:gd name="connsiteX2" fmla="*/ 1574006 w 1622231"/>
              <a:gd name="connsiteY2" fmla="*/ 1302541 h 1773253"/>
              <a:gd name="connsiteX3" fmla="*/ 1264443 w 1622231"/>
              <a:gd name="connsiteY3" fmla="*/ 540542 h 1773253"/>
              <a:gd name="connsiteX4" fmla="*/ 835820 w 1622231"/>
              <a:gd name="connsiteY4" fmla="*/ 373856 h 1773253"/>
              <a:gd name="connsiteX5" fmla="*/ 807244 w 1622231"/>
              <a:gd name="connsiteY5" fmla="*/ 0 h 1773253"/>
              <a:gd name="connsiteX6" fmla="*/ 421482 w 1622231"/>
              <a:gd name="connsiteY6" fmla="*/ 321468 h 1773253"/>
              <a:gd name="connsiteX7" fmla="*/ 595313 w 1622231"/>
              <a:gd name="connsiteY7" fmla="*/ 766762 h 1773253"/>
              <a:gd name="connsiteX8" fmla="*/ 923925 w 1622231"/>
              <a:gd name="connsiteY8" fmla="*/ 1007267 h 1773253"/>
              <a:gd name="connsiteX9" fmla="*/ 621506 w 1622231"/>
              <a:gd name="connsiteY9" fmla="*/ 1352547 h 1773253"/>
              <a:gd name="connsiteX10" fmla="*/ 0 w 1622231"/>
              <a:gd name="connsiteY10" fmla="*/ 1119184 h 1773253"/>
              <a:gd name="connsiteX0" fmla="*/ 0 w 1622231"/>
              <a:gd name="connsiteY0" fmla="*/ 1119184 h 1800701"/>
              <a:gd name="connsiteX1" fmla="*/ 0 w 1622231"/>
              <a:gd name="connsiteY1" fmla="*/ 1647822 h 1800701"/>
              <a:gd name="connsiteX2" fmla="*/ 1574006 w 1622231"/>
              <a:gd name="connsiteY2" fmla="*/ 1302541 h 1800701"/>
              <a:gd name="connsiteX3" fmla="*/ 1264443 w 1622231"/>
              <a:gd name="connsiteY3" fmla="*/ 540542 h 1800701"/>
              <a:gd name="connsiteX4" fmla="*/ 835820 w 1622231"/>
              <a:gd name="connsiteY4" fmla="*/ 373856 h 1800701"/>
              <a:gd name="connsiteX5" fmla="*/ 807244 w 1622231"/>
              <a:gd name="connsiteY5" fmla="*/ 0 h 1800701"/>
              <a:gd name="connsiteX6" fmla="*/ 421482 w 1622231"/>
              <a:gd name="connsiteY6" fmla="*/ 321468 h 1800701"/>
              <a:gd name="connsiteX7" fmla="*/ 595313 w 1622231"/>
              <a:gd name="connsiteY7" fmla="*/ 766762 h 1800701"/>
              <a:gd name="connsiteX8" fmla="*/ 923925 w 1622231"/>
              <a:gd name="connsiteY8" fmla="*/ 1007267 h 1800701"/>
              <a:gd name="connsiteX9" fmla="*/ 621506 w 1622231"/>
              <a:gd name="connsiteY9" fmla="*/ 1352547 h 1800701"/>
              <a:gd name="connsiteX10" fmla="*/ 0 w 1622231"/>
              <a:gd name="connsiteY10" fmla="*/ 1119184 h 1800701"/>
              <a:gd name="connsiteX0" fmla="*/ 0 w 1552023"/>
              <a:gd name="connsiteY0" fmla="*/ 1119184 h 1859749"/>
              <a:gd name="connsiteX1" fmla="*/ 0 w 1552023"/>
              <a:gd name="connsiteY1" fmla="*/ 1647822 h 1859749"/>
              <a:gd name="connsiteX2" fmla="*/ 1462087 w 1552023"/>
              <a:gd name="connsiteY2" fmla="*/ 1469229 h 1859749"/>
              <a:gd name="connsiteX3" fmla="*/ 1264443 w 1552023"/>
              <a:gd name="connsiteY3" fmla="*/ 540542 h 1859749"/>
              <a:gd name="connsiteX4" fmla="*/ 835820 w 1552023"/>
              <a:gd name="connsiteY4" fmla="*/ 373856 h 1859749"/>
              <a:gd name="connsiteX5" fmla="*/ 807244 w 1552023"/>
              <a:gd name="connsiteY5" fmla="*/ 0 h 1859749"/>
              <a:gd name="connsiteX6" fmla="*/ 421482 w 1552023"/>
              <a:gd name="connsiteY6" fmla="*/ 321468 h 1859749"/>
              <a:gd name="connsiteX7" fmla="*/ 595313 w 1552023"/>
              <a:gd name="connsiteY7" fmla="*/ 766762 h 1859749"/>
              <a:gd name="connsiteX8" fmla="*/ 923925 w 1552023"/>
              <a:gd name="connsiteY8" fmla="*/ 1007267 h 1859749"/>
              <a:gd name="connsiteX9" fmla="*/ 621506 w 1552023"/>
              <a:gd name="connsiteY9" fmla="*/ 1352547 h 1859749"/>
              <a:gd name="connsiteX10" fmla="*/ 0 w 1552023"/>
              <a:gd name="connsiteY10" fmla="*/ 1119184 h 1859749"/>
              <a:gd name="connsiteX0" fmla="*/ 0 w 1571973"/>
              <a:gd name="connsiteY0" fmla="*/ 1119184 h 1800114"/>
              <a:gd name="connsiteX1" fmla="*/ 0 w 1571973"/>
              <a:gd name="connsiteY1" fmla="*/ 1647822 h 1800114"/>
              <a:gd name="connsiteX2" fmla="*/ 1462087 w 1571973"/>
              <a:gd name="connsiteY2" fmla="*/ 1469229 h 1800114"/>
              <a:gd name="connsiteX3" fmla="*/ 1264443 w 1571973"/>
              <a:gd name="connsiteY3" fmla="*/ 540542 h 1800114"/>
              <a:gd name="connsiteX4" fmla="*/ 835820 w 1571973"/>
              <a:gd name="connsiteY4" fmla="*/ 373856 h 1800114"/>
              <a:gd name="connsiteX5" fmla="*/ 807244 w 1571973"/>
              <a:gd name="connsiteY5" fmla="*/ 0 h 1800114"/>
              <a:gd name="connsiteX6" fmla="*/ 421482 w 1571973"/>
              <a:gd name="connsiteY6" fmla="*/ 321468 h 1800114"/>
              <a:gd name="connsiteX7" fmla="*/ 595313 w 1571973"/>
              <a:gd name="connsiteY7" fmla="*/ 766762 h 1800114"/>
              <a:gd name="connsiteX8" fmla="*/ 923925 w 1571973"/>
              <a:gd name="connsiteY8" fmla="*/ 1007267 h 1800114"/>
              <a:gd name="connsiteX9" fmla="*/ 621506 w 1571973"/>
              <a:gd name="connsiteY9" fmla="*/ 1352547 h 1800114"/>
              <a:gd name="connsiteX10" fmla="*/ 0 w 1571973"/>
              <a:gd name="connsiteY10" fmla="*/ 1119184 h 1800114"/>
              <a:gd name="connsiteX0" fmla="*/ 0 w 1620477"/>
              <a:gd name="connsiteY0" fmla="*/ 1119184 h 1800815"/>
              <a:gd name="connsiteX1" fmla="*/ 0 w 1620477"/>
              <a:gd name="connsiteY1" fmla="*/ 1647822 h 1800815"/>
              <a:gd name="connsiteX2" fmla="*/ 1462087 w 1620477"/>
              <a:gd name="connsiteY2" fmla="*/ 1469229 h 1800815"/>
              <a:gd name="connsiteX3" fmla="*/ 1264443 w 1620477"/>
              <a:gd name="connsiteY3" fmla="*/ 540542 h 1800815"/>
              <a:gd name="connsiteX4" fmla="*/ 835820 w 1620477"/>
              <a:gd name="connsiteY4" fmla="*/ 373856 h 1800815"/>
              <a:gd name="connsiteX5" fmla="*/ 807244 w 1620477"/>
              <a:gd name="connsiteY5" fmla="*/ 0 h 1800815"/>
              <a:gd name="connsiteX6" fmla="*/ 421482 w 1620477"/>
              <a:gd name="connsiteY6" fmla="*/ 321468 h 1800815"/>
              <a:gd name="connsiteX7" fmla="*/ 595313 w 1620477"/>
              <a:gd name="connsiteY7" fmla="*/ 766762 h 1800815"/>
              <a:gd name="connsiteX8" fmla="*/ 923925 w 1620477"/>
              <a:gd name="connsiteY8" fmla="*/ 1007267 h 1800815"/>
              <a:gd name="connsiteX9" fmla="*/ 621506 w 1620477"/>
              <a:gd name="connsiteY9" fmla="*/ 1352547 h 1800815"/>
              <a:gd name="connsiteX10" fmla="*/ 0 w 1620477"/>
              <a:gd name="connsiteY10" fmla="*/ 1119184 h 1800815"/>
              <a:gd name="connsiteX0" fmla="*/ 0 w 1629436"/>
              <a:gd name="connsiteY0" fmla="*/ 1119184 h 1799377"/>
              <a:gd name="connsiteX1" fmla="*/ 0 w 1629436"/>
              <a:gd name="connsiteY1" fmla="*/ 1647822 h 1799377"/>
              <a:gd name="connsiteX2" fmla="*/ 1476374 w 1629436"/>
              <a:gd name="connsiteY2" fmla="*/ 1464467 h 1799377"/>
              <a:gd name="connsiteX3" fmla="*/ 1264443 w 1629436"/>
              <a:gd name="connsiteY3" fmla="*/ 540542 h 1799377"/>
              <a:gd name="connsiteX4" fmla="*/ 835820 w 1629436"/>
              <a:gd name="connsiteY4" fmla="*/ 373856 h 1799377"/>
              <a:gd name="connsiteX5" fmla="*/ 807244 w 1629436"/>
              <a:gd name="connsiteY5" fmla="*/ 0 h 1799377"/>
              <a:gd name="connsiteX6" fmla="*/ 421482 w 1629436"/>
              <a:gd name="connsiteY6" fmla="*/ 321468 h 1799377"/>
              <a:gd name="connsiteX7" fmla="*/ 595313 w 1629436"/>
              <a:gd name="connsiteY7" fmla="*/ 766762 h 1799377"/>
              <a:gd name="connsiteX8" fmla="*/ 923925 w 1629436"/>
              <a:gd name="connsiteY8" fmla="*/ 1007267 h 1799377"/>
              <a:gd name="connsiteX9" fmla="*/ 621506 w 1629436"/>
              <a:gd name="connsiteY9" fmla="*/ 1352547 h 1799377"/>
              <a:gd name="connsiteX10" fmla="*/ 0 w 1629436"/>
              <a:gd name="connsiteY10" fmla="*/ 1119184 h 1799377"/>
              <a:gd name="connsiteX0" fmla="*/ 0 w 1606110"/>
              <a:gd name="connsiteY0" fmla="*/ 1119184 h 1796213"/>
              <a:gd name="connsiteX1" fmla="*/ 0 w 1606110"/>
              <a:gd name="connsiteY1" fmla="*/ 1647822 h 1796213"/>
              <a:gd name="connsiteX2" fmla="*/ 1476374 w 1606110"/>
              <a:gd name="connsiteY2" fmla="*/ 1464467 h 1796213"/>
              <a:gd name="connsiteX3" fmla="*/ 1264443 w 1606110"/>
              <a:gd name="connsiteY3" fmla="*/ 540542 h 1796213"/>
              <a:gd name="connsiteX4" fmla="*/ 835820 w 1606110"/>
              <a:gd name="connsiteY4" fmla="*/ 373856 h 1796213"/>
              <a:gd name="connsiteX5" fmla="*/ 807244 w 1606110"/>
              <a:gd name="connsiteY5" fmla="*/ 0 h 1796213"/>
              <a:gd name="connsiteX6" fmla="*/ 421482 w 1606110"/>
              <a:gd name="connsiteY6" fmla="*/ 321468 h 1796213"/>
              <a:gd name="connsiteX7" fmla="*/ 595313 w 1606110"/>
              <a:gd name="connsiteY7" fmla="*/ 766762 h 1796213"/>
              <a:gd name="connsiteX8" fmla="*/ 923925 w 1606110"/>
              <a:gd name="connsiteY8" fmla="*/ 1007267 h 1796213"/>
              <a:gd name="connsiteX9" fmla="*/ 621506 w 1606110"/>
              <a:gd name="connsiteY9" fmla="*/ 1352547 h 1796213"/>
              <a:gd name="connsiteX10" fmla="*/ 0 w 1606110"/>
              <a:gd name="connsiteY10" fmla="*/ 1119184 h 1796213"/>
              <a:gd name="connsiteX0" fmla="*/ 0 w 1625337"/>
              <a:gd name="connsiteY0" fmla="*/ 1119184 h 1796213"/>
              <a:gd name="connsiteX1" fmla="*/ 0 w 1625337"/>
              <a:gd name="connsiteY1" fmla="*/ 1647822 h 1796213"/>
              <a:gd name="connsiteX2" fmla="*/ 1476374 w 1625337"/>
              <a:gd name="connsiteY2" fmla="*/ 1464467 h 1796213"/>
              <a:gd name="connsiteX3" fmla="*/ 1264443 w 1625337"/>
              <a:gd name="connsiteY3" fmla="*/ 540542 h 1796213"/>
              <a:gd name="connsiteX4" fmla="*/ 835820 w 1625337"/>
              <a:gd name="connsiteY4" fmla="*/ 373856 h 1796213"/>
              <a:gd name="connsiteX5" fmla="*/ 807244 w 1625337"/>
              <a:gd name="connsiteY5" fmla="*/ 0 h 1796213"/>
              <a:gd name="connsiteX6" fmla="*/ 421482 w 1625337"/>
              <a:gd name="connsiteY6" fmla="*/ 321468 h 1796213"/>
              <a:gd name="connsiteX7" fmla="*/ 595313 w 1625337"/>
              <a:gd name="connsiteY7" fmla="*/ 766762 h 1796213"/>
              <a:gd name="connsiteX8" fmla="*/ 923925 w 1625337"/>
              <a:gd name="connsiteY8" fmla="*/ 1007267 h 1796213"/>
              <a:gd name="connsiteX9" fmla="*/ 621506 w 1625337"/>
              <a:gd name="connsiteY9" fmla="*/ 1352547 h 1796213"/>
              <a:gd name="connsiteX10" fmla="*/ 0 w 1625337"/>
              <a:gd name="connsiteY10" fmla="*/ 1119184 h 1796213"/>
              <a:gd name="connsiteX0" fmla="*/ 0 w 1625337"/>
              <a:gd name="connsiteY0" fmla="*/ 1119184 h 1803595"/>
              <a:gd name="connsiteX1" fmla="*/ 0 w 1625337"/>
              <a:gd name="connsiteY1" fmla="*/ 1647822 h 1803595"/>
              <a:gd name="connsiteX2" fmla="*/ 1476374 w 1625337"/>
              <a:gd name="connsiteY2" fmla="*/ 1464467 h 1803595"/>
              <a:gd name="connsiteX3" fmla="*/ 1264443 w 1625337"/>
              <a:gd name="connsiteY3" fmla="*/ 540542 h 1803595"/>
              <a:gd name="connsiteX4" fmla="*/ 835820 w 1625337"/>
              <a:gd name="connsiteY4" fmla="*/ 373856 h 1803595"/>
              <a:gd name="connsiteX5" fmla="*/ 807244 w 1625337"/>
              <a:gd name="connsiteY5" fmla="*/ 0 h 1803595"/>
              <a:gd name="connsiteX6" fmla="*/ 421482 w 1625337"/>
              <a:gd name="connsiteY6" fmla="*/ 321468 h 1803595"/>
              <a:gd name="connsiteX7" fmla="*/ 595313 w 1625337"/>
              <a:gd name="connsiteY7" fmla="*/ 766762 h 1803595"/>
              <a:gd name="connsiteX8" fmla="*/ 923925 w 1625337"/>
              <a:gd name="connsiteY8" fmla="*/ 1007267 h 1803595"/>
              <a:gd name="connsiteX9" fmla="*/ 621506 w 1625337"/>
              <a:gd name="connsiteY9" fmla="*/ 1352547 h 1803595"/>
              <a:gd name="connsiteX10" fmla="*/ 0 w 1625337"/>
              <a:gd name="connsiteY10" fmla="*/ 1119184 h 1803595"/>
              <a:gd name="connsiteX0" fmla="*/ 0 w 1625337"/>
              <a:gd name="connsiteY0" fmla="*/ 1119184 h 1799376"/>
              <a:gd name="connsiteX1" fmla="*/ 0 w 1625337"/>
              <a:gd name="connsiteY1" fmla="*/ 1647822 h 1799376"/>
              <a:gd name="connsiteX2" fmla="*/ 1476374 w 1625337"/>
              <a:gd name="connsiteY2" fmla="*/ 1464467 h 1799376"/>
              <a:gd name="connsiteX3" fmla="*/ 1264443 w 1625337"/>
              <a:gd name="connsiteY3" fmla="*/ 540542 h 1799376"/>
              <a:gd name="connsiteX4" fmla="*/ 835820 w 1625337"/>
              <a:gd name="connsiteY4" fmla="*/ 373856 h 1799376"/>
              <a:gd name="connsiteX5" fmla="*/ 807244 w 1625337"/>
              <a:gd name="connsiteY5" fmla="*/ 0 h 1799376"/>
              <a:gd name="connsiteX6" fmla="*/ 421482 w 1625337"/>
              <a:gd name="connsiteY6" fmla="*/ 321468 h 1799376"/>
              <a:gd name="connsiteX7" fmla="*/ 595313 w 1625337"/>
              <a:gd name="connsiteY7" fmla="*/ 766762 h 1799376"/>
              <a:gd name="connsiteX8" fmla="*/ 923925 w 1625337"/>
              <a:gd name="connsiteY8" fmla="*/ 1007267 h 1799376"/>
              <a:gd name="connsiteX9" fmla="*/ 621506 w 1625337"/>
              <a:gd name="connsiteY9" fmla="*/ 1352547 h 1799376"/>
              <a:gd name="connsiteX10" fmla="*/ 0 w 1625337"/>
              <a:gd name="connsiteY10" fmla="*/ 1119184 h 1799376"/>
              <a:gd name="connsiteX0" fmla="*/ 0 w 1635914"/>
              <a:gd name="connsiteY0" fmla="*/ 1119184 h 1799376"/>
              <a:gd name="connsiteX1" fmla="*/ 0 w 1635914"/>
              <a:gd name="connsiteY1" fmla="*/ 1647822 h 1799376"/>
              <a:gd name="connsiteX2" fmla="*/ 1476374 w 1635914"/>
              <a:gd name="connsiteY2" fmla="*/ 1464467 h 1799376"/>
              <a:gd name="connsiteX3" fmla="*/ 1264443 w 1635914"/>
              <a:gd name="connsiteY3" fmla="*/ 540542 h 1799376"/>
              <a:gd name="connsiteX4" fmla="*/ 835820 w 1635914"/>
              <a:gd name="connsiteY4" fmla="*/ 373856 h 1799376"/>
              <a:gd name="connsiteX5" fmla="*/ 807244 w 1635914"/>
              <a:gd name="connsiteY5" fmla="*/ 0 h 1799376"/>
              <a:gd name="connsiteX6" fmla="*/ 421482 w 1635914"/>
              <a:gd name="connsiteY6" fmla="*/ 321468 h 1799376"/>
              <a:gd name="connsiteX7" fmla="*/ 595313 w 1635914"/>
              <a:gd name="connsiteY7" fmla="*/ 766762 h 1799376"/>
              <a:gd name="connsiteX8" fmla="*/ 923925 w 1635914"/>
              <a:gd name="connsiteY8" fmla="*/ 1007267 h 1799376"/>
              <a:gd name="connsiteX9" fmla="*/ 621506 w 1635914"/>
              <a:gd name="connsiteY9" fmla="*/ 1352547 h 1799376"/>
              <a:gd name="connsiteX10" fmla="*/ 0 w 1635914"/>
              <a:gd name="connsiteY10" fmla="*/ 1119184 h 1799376"/>
              <a:gd name="connsiteX0" fmla="*/ 0 w 1720482"/>
              <a:gd name="connsiteY0" fmla="*/ 1119184 h 1772537"/>
              <a:gd name="connsiteX1" fmla="*/ 0 w 1720482"/>
              <a:gd name="connsiteY1" fmla="*/ 1647822 h 1772537"/>
              <a:gd name="connsiteX2" fmla="*/ 1476374 w 1720482"/>
              <a:gd name="connsiteY2" fmla="*/ 1464467 h 1772537"/>
              <a:gd name="connsiteX3" fmla="*/ 1397793 w 1720482"/>
              <a:gd name="connsiteY3" fmla="*/ 626267 h 1772537"/>
              <a:gd name="connsiteX4" fmla="*/ 835820 w 1720482"/>
              <a:gd name="connsiteY4" fmla="*/ 373856 h 1772537"/>
              <a:gd name="connsiteX5" fmla="*/ 807244 w 1720482"/>
              <a:gd name="connsiteY5" fmla="*/ 0 h 1772537"/>
              <a:gd name="connsiteX6" fmla="*/ 421482 w 1720482"/>
              <a:gd name="connsiteY6" fmla="*/ 321468 h 1772537"/>
              <a:gd name="connsiteX7" fmla="*/ 595313 w 1720482"/>
              <a:gd name="connsiteY7" fmla="*/ 766762 h 1772537"/>
              <a:gd name="connsiteX8" fmla="*/ 923925 w 1720482"/>
              <a:gd name="connsiteY8" fmla="*/ 1007267 h 1772537"/>
              <a:gd name="connsiteX9" fmla="*/ 621506 w 1720482"/>
              <a:gd name="connsiteY9" fmla="*/ 1352547 h 1772537"/>
              <a:gd name="connsiteX10" fmla="*/ 0 w 1720482"/>
              <a:gd name="connsiteY10" fmla="*/ 1119184 h 1772537"/>
              <a:gd name="connsiteX0" fmla="*/ 0 w 1630664"/>
              <a:gd name="connsiteY0" fmla="*/ 1119184 h 1772537"/>
              <a:gd name="connsiteX1" fmla="*/ 0 w 1630664"/>
              <a:gd name="connsiteY1" fmla="*/ 1647822 h 1772537"/>
              <a:gd name="connsiteX2" fmla="*/ 1476374 w 1630664"/>
              <a:gd name="connsiteY2" fmla="*/ 1464467 h 1772537"/>
              <a:gd name="connsiteX3" fmla="*/ 1397793 w 1630664"/>
              <a:gd name="connsiteY3" fmla="*/ 626267 h 1772537"/>
              <a:gd name="connsiteX4" fmla="*/ 835820 w 1630664"/>
              <a:gd name="connsiteY4" fmla="*/ 373856 h 1772537"/>
              <a:gd name="connsiteX5" fmla="*/ 807244 w 1630664"/>
              <a:gd name="connsiteY5" fmla="*/ 0 h 1772537"/>
              <a:gd name="connsiteX6" fmla="*/ 421482 w 1630664"/>
              <a:gd name="connsiteY6" fmla="*/ 321468 h 1772537"/>
              <a:gd name="connsiteX7" fmla="*/ 595313 w 1630664"/>
              <a:gd name="connsiteY7" fmla="*/ 766762 h 1772537"/>
              <a:gd name="connsiteX8" fmla="*/ 923925 w 1630664"/>
              <a:gd name="connsiteY8" fmla="*/ 1007267 h 1772537"/>
              <a:gd name="connsiteX9" fmla="*/ 621506 w 1630664"/>
              <a:gd name="connsiteY9" fmla="*/ 1352547 h 1772537"/>
              <a:gd name="connsiteX10" fmla="*/ 0 w 1630664"/>
              <a:gd name="connsiteY10" fmla="*/ 1119184 h 1772537"/>
              <a:gd name="connsiteX0" fmla="*/ 0 w 1615856"/>
              <a:gd name="connsiteY0" fmla="*/ 1119184 h 1800557"/>
              <a:gd name="connsiteX1" fmla="*/ 0 w 1615856"/>
              <a:gd name="connsiteY1" fmla="*/ 1647822 h 1800557"/>
              <a:gd name="connsiteX2" fmla="*/ 1476374 w 1615856"/>
              <a:gd name="connsiteY2" fmla="*/ 1464467 h 1800557"/>
              <a:gd name="connsiteX3" fmla="*/ 1397793 w 1615856"/>
              <a:gd name="connsiteY3" fmla="*/ 626267 h 1800557"/>
              <a:gd name="connsiteX4" fmla="*/ 835820 w 1615856"/>
              <a:gd name="connsiteY4" fmla="*/ 373856 h 1800557"/>
              <a:gd name="connsiteX5" fmla="*/ 807244 w 1615856"/>
              <a:gd name="connsiteY5" fmla="*/ 0 h 1800557"/>
              <a:gd name="connsiteX6" fmla="*/ 421482 w 1615856"/>
              <a:gd name="connsiteY6" fmla="*/ 321468 h 1800557"/>
              <a:gd name="connsiteX7" fmla="*/ 595313 w 1615856"/>
              <a:gd name="connsiteY7" fmla="*/ 766762 h 1800557"/>
              <a:gd name="connsiteX8" fmla="*/ 923925 w 1615856"/>
              <a:gd name="connsiteY8" fmla="*/ 1007267 h 1800557"/>
              <a:gd name="connsiteX9" fmla="*/ 621506 w 1615856"/>
              <a:gd name="connsiteY9" fmla="*/ 1352547 h 1800557"/>
              <a:gd name="connsiteX10" fmla="*/ 0 w 1615856"/>
              <a:gd name="connsiteY10" fmla="*/ 1119184 h 1800557"/>
              <a:gd name="connsiteX0" fmla="*/ 0 w 1626496"/>
              <a:gd name="connsiteY0" fmla="*/ 1119184 h 1800277"/>
              <a:gd name="connsiteX1" fmla="*/ 0 w 1626496"/>
              <a:gd name="connsiteY1" fmla="*/ 1647822 h 1800277"/>
              <a:gd name="connsiteX2" fmla="*/ 1476374 w 1626496"/>
              <a:gd name="connsiteY2" fmla="*/ 1464467 h 1800277"/>
              <a:gd name="connsiteX3" fmla="*/ 1397793 w 1626496"/>
              <a:gd name="connsiteY3" fmla="*/ 626267 h 1800277"/>
              <a:gd name="connsiteX4" fmla="*/ 835820 w 1626496"/>
              <a:gd name="connsiteY4" fmla="*/ 373856 h 1800277"/>
              <a:gd name="connsiteX5" fmla="*/ 807244 w 1626496"/>
              <a:gd name="connsiteY5" fmla="*/ 0 h 1800277"/>
              <a:gd name="connsiteX6" fmla="*/ 421482 w 1626496"/>
              <a:gd name="connsiteY6" fmla="*/ 321468 h 1800277"/>
              <a:gd name="connsiteX7" fmla="*/ 595313 w 1626496"/>
              <a:gd name="connsiteY7" fmla="*/ 766762 h 1800277"/>
              <a:gd name="connsiteX8" fmla="*/ 923925 w 1626496"/>
              <a:gd name="connsiteY8" fmla="*/ 1007267 h 1800277"/>
              <a:gd name="connsiteX9" fmla="*/ 621506 w 1626496"/>
              <a:gd name="connsiteY9" fmla="*/ 1352547 h 1800277"/>
              <a:gd name="connsiteX10" fmla="*/ 0 w 1626496"/>
              <a:gd name="connsiteY10" fmla="*/ 1119184 h 1800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626496" h="1800277">
                <a:moveTo>
                  <a:pt x="0" y="1119184"/>
                </a:moveTo>
                <a:lnTo>
                  <a:pt x="0" y="1647822"/>
                </a:lnTo>
                <a:cubicBezTo>
                  <a:pt x="686196" y="1947462"/>
                  <a:pt x="1196953" y="1762179"/>
                  <a:pt x="1476374" y="1464467"/>
                </a:cubicBezTo>
                <a:cubicBezTo>
                  <a:pt x="1699180" y="1227076"/>
                  <a:pt x="1674781" y="817990"/>
                  <a:pt x="1397793" y="626267"/>
                </a:cubicBezTo>
                <a:cubicBezTo>
                  <a:pt x="1228944" y="509394"/>
                  <a:pt x="1023144" y="457993"/>
                  <a:pt x="835820" y="373856"/>
                </a:cubicBezTo>
                <a:cubicBezTo>
                  <a:pt x="676275" y="325437"/>
                  <a:pt x="542926" y="112711"/>
                  <a:pt x="807244" y="0"/>
                </a:cubicBezTo>
                <a:cubicBezTo>
                  <a:pt x="507207" y="50006"/>
                  <a:pt x="440530" y="235745"/>
                  <a:pt x="421482" y="321468"/>
                </a:cubicBezTo>
                <a:cubicBezTo>
                  <a:pt x="362745" y="574674"/>
                  <a:pt x="546894" y="723107"/>
                  <a:pt x="595313" y="766762"/>
                </a:cubicBezTo>
                <a:cubicBezTo>
                  <a:pt x="664369" y="835024"/>
                  <a:pt x="857250" y="884236"/>
                  <a:pt x="923925" y="1007267"/>
                </a:cubicBezTo>
                <a:cubicBezTo>
                  <a:pt x="992188" y="1158079"/>
                  <a:pt x="883541" y="1334500"/>
                  <a:pt x="621506" y="1352547"/>
                </a:cubicBezTo>
                <a:cubicBezTo>
                  <a:pt x="455755" y="1363963"/>
                  <a:pt x="205977" y="1265235"/>
                  <a:pt x="0" y="1119184"/>
                </a:cubicBezTo>
                <a:close/>
              </a:path>
            </a:pathLst>
          </a:custGeom>
          <a:solidFill>
            <a:srgbClr val="0F238D"/>
          </a:solidFill>
          <a:ln w="127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sp>
        <p:nvSpPr>
          <p:cNvPr id="35" name="Freeform 34"/>
          <p:cNvSpPr/>
          <p:nvPr userDrawn="1"/>
        </p:nvSpPr>
        <p:spPr>
          <a:xfrm>
            <a:off x="8504651" y="159540"/>
            <a:ext cx="118940" cy="68882"/>
          </a:xfrm>
          <a:custGeom>
            <a:avLst/>
            <a:gdLst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13690"/>
              <a:gd name="connsiteY0" fmla="*/ 635794 h 788194"/>
              <a:gd name="connsiteX1" fmla="*/ 1402556 w 1413690"/>
              <a:gd name="connsiteY1" fmla="*/ 64294 h 788194"/>
              <a:gd name="connsiteX2" fmla="*/ 547687 w 1413690"/>
              <a:gd name="connsiteY2" fmla="*/ 0 h 788194"/>
              <a:gd name="connsiteX3" fmla="*/ 14287 w 1413690"/>
              <a:gd name="connsiteY3" fmla="*/ 469106 h 788194"/>
              <a:gd name="connsiteX4" fmla="*/ 0 w 1413690"/>
              <a:gd name="connsiteY4" fmla="*/ 788194 h 788194"/>
              <a:gd name="connsiteX5" fmla="*/ 283368 w 1413690"/>
              <a:gd name="connsiteY5" fmla="*/ 438150 h 788194"/>
              <a:gd name="connsiteX6" fmla="*/ 821531 w 1413690"/>
              <a:gd name="connsiteY6" fmla="*/ 371475 h 788194"/>
              <a:gd name="connsiteX7" fmla="*/ 1404937 w 1413690"/>
              <a:gd name="connsiteY7" fmla="*/ 635794 h 788194"/>
              <a:gd name="connsiteX0" fmla="*/ 1404937 w 1417413"/>
              <a:gd name="connsiteY0" fmla="*/ 635794 h 788194"/>
              <a:gd name="connsiteX1" fmla="*/ 1402556 w 1417413"/>
              <a:gd name="connsiteY1" fmla="*/ 64294 h 788194"/>
              <a:gd name="connsiteX2" fmla="*/ 547687 w 1417413"/>
              <a:gd name="connsiteY2" fmla="*/ 0 h 788194"/>
              <a:gd name="connsiteX3" fmla="*/ 14287 w 1417413"/>
              <a:gd name="connsiteY3" fmla="*/ 469106 h 788194"/>
              <a:gd name="connsiteX4" fmla="*/ 0 w 1417413"/>
              <a:gd name="connsiteY4" fmla="*/ 788194 h 788194"/>
              <a:gd name="connsiteX5" fmla="*/ 283368 w 1417413"/>
              <a:gd name="connsiteY5" fmla="*/ 438150 h 788194"/>
              <a:gd name="connsiteX6" fmla="*/ 821531 w 1417413"/>
              <a:gd name="connsiteY6" fmla="*/ 371475 h 788194"/>
              <a:gd name="connsiteX7" fmla="*/ 1404937 w 1417413"/>
              <a:gd name="connsiteY7" fmla="*/ 635794 h 788194"/>
              <a:gd name="connsiteX0" fmla="*/ 1404937 w 1417413"/>
              <a:gd name="connsiteY0" fmla="*/ 636458 h 788858"/>
              <a:gd name="connsiteX1" fmla="*/ 1402556 w 1417413"/>
              <a:gd name="connsiteY1" fmla="*/ 64958 h 788858"/>
              <a:gd name="connsiteX2" fmla="*/ 547687 w 1417413"/>
              <a:gd name="connsiteY2" fmla="*/ 664 h 788858"/>
              <a:gd name="connsiteX3" fmla="*/ 14287 w 1417413"/>
              <a:gd name="connsiteY3" fmla="*/ 469770 h 788858"/>
              <a:gd name="connsiteX4" fmla="*/ 0 w 1417413"/>
              <a:gd name="connsiteY4" fmla="*/ 788858 h 788858"/>
              <a:gd name="connsiteX5" fmla="*/ 283368 w 1417413"/>
              <a:gd name="connsiteY5" fmla="*/ 438814 h 788858"/>
              <a:gd name="connsiteX6" fmla="*/ 821531 w 1417413"/>
              <a:gd name="connsiteY6" fmla="*/ 372139 h 788858"/>
              <a:gd name="connsiteX7" fmla="*/ 1404937 w 1417413"/>
              <a:gd name="connsiteY7" fmla="*/ 636458 h 788858"/>
              <a:gd name="connsiteX0" fmla="*/ 1404937 w 1417413"/>
              <a:gd name="connsiteY0" fmla="*/ 659983 h 812383"/>
              <a:gd name="connsiteX1" fmla="*/ 1402556 w 1417413"/>
              <a:gd name="connsiteY1" fmla="*/ 88483 h 812383"/>
              <a:gd name="connsiteX2" fmla="*/ 547687 w 1417413"/>
              <a:gd name="connsiteY2" fmla="*/ 24189 h 812383"/>
              <a:gd name="connsiteX3" fmla="*/ 14287 w 1417413"/>
              <a:gd name="connsiteY3" fmla="*/ 493295 h 812383"/>
              <a:gd name="connsiteX4" fmla="*/ 0 w 1417413"/>
              <a:gd name="connsiteY4" fmla="*/ 812383 h 812383"/>
              <a:gd name="connsiteX5" fmla="*/ 283368 w 1417413"/>
              <a:gd name="connsiteY5" fmla="*/ 462339 h 812383"/>
              <a:gd name="connsiteX6" fmla="*/ 821531 w 1417413"/>
              <a:gd name="connsiteY6" fmla="*/ 395664 h 812383"/>
              <a:gd name="connsiteX7" fmla="*/ 1404937 w 1417413"/>
              <a:gd name="connsiteY7" fmla="*/ 659983 h 812383"/>
              <a:gd name="connsiteX0" fmla="*/ 1404937 w 1417413"/>
              <a:gd name="connsiteY0" fmla="*/ 674932 h 827332"/>
              <a:gd name="connsiteX1" fmla="*/ 1402556 w 1417413"/>
              <a:gd name="connsiteY1" fmla="*/ 103432 h 827332"/>
              <a:gd name="connsiteX2" fmla="*/ 547687 w 1417413"/>
              <a:gd name="connsiteY2" fmla="*/ 39138 h 827332"/>
              <a:gd name="connsiteX3" fmla="*/ 14287 w 1417413"/>
              <a:gd name="connsiteY3" fmla="*/ 508244 h 827332"/>
              <a:gd name="connsiteX4" fmla="*/ 0 w 1417413"/>
              <a:gd name="connsiteY4" fmla="*/ 827332 h 827332"/>
              <a:gd name="connsiteX5" fmla="*/ 283368 w 1417413"/>
              <a:gd name="connsiteY5" fmla="*/ 477288 h 827332"/>
              <a:gd name="connsiteX6" fmla="*/ 821531 w 1417413"/>
              <a:gd name="connsiteY6" fmla="*/ 410613 h 827332"/>
              <a:gd name="connsiteX7" fmla="*/ 1404937 w 1417413"/>
              <a:gd name="connsiteY7" fmla="*/ 674932 h 827332"/>
              <a:gd name="connsiteX0" fmla="*/ 1404937 w 1417413"/>
              <a:gd name="connsiteY0" fmla="*/ 674932 h 827332"/>
              <a:gd name="connsiteX1" fmla="*/ 1402556 w 1417413"/>
              <a:gd name="connsiteY1" fmla="*/ 103432 h 827332"/>
              <a:gd name="connsiteX2" fmla="*/ 547687 w 1417413"/>
              <a:gd name="connsiteY2" fmla="*/ 39138 h 827332"/>
              <a:gd name="connsiteX3" fmla="*/ 14287 w 1417413"/>
              <a:gd name="connsiteY3" fmla="*/ 508244 h 827332"/>
              <a:gd name="connsiteX4" fmla="*/ 0 w 1417413"/>
              <a:gd name="connsiteY4" fmla="*/ 827332 h 827332"/>
              <a:gd name="connsiteX5" fmla="*/ 283368 w 1417413"/>
              <a:gd name="connsiteY5" fmla="*/ 477288 h 827332"/>
              <a:gd name="connsiteX6" fmla="*/ 821531 w 1417413"/>
              <a:gd name="connsiteY6" fmla="*/ 410613 h 827332"/>
              <a:gd name="connsiteX7" fmla="*/ 1404937 w 1417413"/>
              <a:gd name="connsiteY7" fmla="*/ 674932 h 827332"/>
              <a:gd name="connsiteX0" fmla="*/ 1406804 w 1419280"/>
              <a:gd name="connsiteY0" fmla="*/ 674932 h 827332"/>
              <a:gd name="connsiteX1" fmla="*/ 1404423 w 1419280"/>
              <a:gd name="connsiteY1" fmla="*/ 103432 h 827332"/>
              <a:gd name="connsiteX2" fmla="*/ 549554 w 1419280"/>
              <a:gd name="connsiteY2" fmla="*/ 39138 h 827332"/>
              <a:gd name="connsiteX3" fmla="*/ 16154 w 1419280"/>
              <a:gd name="connsiteY3" fmla="*/ 508244 h 827332"/>
              <a:gd name="connsiteX4" fmla="*/ 1867 w 1419280"/>
              <a:gd name="connsiteY4" fmla="*/ 827332 h 827332"/>
              <a:gd name="connsiteX5" fmla="*/ 285235 w 1419280"/>
              <a:gd name="connsiteY5" fmla="*/ 477288 h 827332"/>
              <a:gd name="connsiteX6" fmla="*/ 823398 w 1419280"/>
              <a:gd name="connsiteY6" fmla="*/ 410613 h 827332"/>
              <a:gd name="connsiteX7" fmla="*/ 1406804 w 1419280"/>
              <a:gd name="connsiteY7" fmla="*/ 674932 h 827332"/>
              <a:gd name="connsiteX0" fmla="*/ 1409119 w 1421595"/>
              <a:gd name="connsiteY0" fmla="*/ 674932 h 827332"/>
              <a:gd name="connsiteX1" fmla="*/ 1406738 w 1421595"/>
              <a:gd name="connsiteY1" fmla="*/ 103432 h 827332"/>
              <a:gd name="connsiteX2" fmla="*/ 551869 w 1421595"/>
              <a:gd name="connsiteY2" fmla="*/ 39138 h 827332"/>
              <a:gd name="connsiteX3" fmla="*/ 18469 w 1421595"/>
              <a:gd name="connsiteY3" fmla="*/ 508244 h 827332"/>
              <a:gd name="connsiteX4" fmla="*/ 4182 w 1421595"/>
              <a:gd name="connsiteY4" fmla="*/ 827332 h 827332"/>
              <a:gd name="connsiteX5" fmla="*/ 287550 w 1421595"/>
              <a:gd name="connsiteY5" fmla="*/ 477288 h 827332"/>
              <a:gd name="connsiteX6" fmla="*/ 825713 w 1421595"/>
              <a:gd name="connsiteY6" fmla="*/ 410613 h 827332"/>
              <a:gd name="connsiteX7" fmla="*/ 1409119 w 1421595"/>
              <a:gd name="connsiteY7" fmla="*/ 674932 h 827332"/>
              <a:gd name="connsiteX0" fmla="*/ 1417088 w 1429564"/>
              <a:gd name="connsiteY0" fmla="*/ 674932 h 827332"/>
              <a:gd name="connsiteX1" fmla="*/ 1414707 w 1429564"/>
              <a:gd name="connsiteY1" fmla="*/ 103432 h 827332"/>
              <a:gd name="connsiteX2" fmla="*/ 559838 w 1429564"/>
              <a:gd name="connsiteY2" fmla="*/ 39138 h 827332"/>
              <a:gd name="connsiteX3" fmla="*/ 26438 w 1429564"/>
              <a:gd name="connsiteY3" fmla="*/ 508244 h 827332"/>
              <a:gd name="connsiteX4" fmla="*/ 12151 w 1429564"/>
              <a:gd name="connsiteY4" fmla="*/ 827332 h 827332"/>
              <a:gd name="connsiteX5" fmla="*/ 295519 w 1429564"/>
              <a:gd name="connsiteY5" fmla="*/ 477288 h 827332"/>
              <a:gd name="connsiteX6" fmla="*/ 833682 w 1429564"/>
              <a:gd name="connsiteY6" fmla="*/ 410613 h 827332"/>
              <a:gd name="connsiteX7" fmla="*/ 1417088 w 1429564"/>
              <a:gd name="connsiteY7" fmla="*/ 674932 h 827332"/>
              <a:gd name="connsiteX0" fmla="*/ 1417088 w 1429564"/>
              <a:gd name="connsiteY0" fmla="*/ 674932 h 827332"/>
              <a:gd name="connsiteX1" fmla="*/ 1414707 w 1429564"/>
              <a:gd name="connsiteY1" fmla="*/ 103432 h 827332"/>
              <a:gd name="connsiteX2" fmla="*/ 559838 w 1429564"/>
              <a:gd name="connsiteY2" fmla="*/ 39138 h 827332"/>
              <a:gd name="connsiteX3" fmla="*/ 26438 w 1429564"/>
              <a:gd name="connsiteY3" fmla="*/ 508244 h 827332"/>
              <a:gd name="connsiteX4" fmla="*/ 12151 w 1429564"/>
              <a:gd name="connsiteY4" fmla="*/ 827332 h 827332"/>
              <a:gd name="connsiteX5" fmla="*/ 295519 w 1429564"/>
              <a:gd name="connsiteY5" fmla="*/ 477288 h 827332"/>
              <a:gd name="connsiteX6" fmla="*/ 833682 w 1429564"/>
              <a:gd name="connsiteY6" fmla="*/ 410613 h 827332"/>
              <a:gd name="connsiteX7" fmla="*/ 1417088 w 1429564"/>
              <a:gd name="connsiteY7" fmla="*/ 674932 h 827332"/>
              <a:gd name="connsiteX0" fmla="*/ 1417088 w 1428573"/>
              <a:gd name="connsiteY0" fmla="*/ 674932 h 827332"/>
              <a:gd name="connsiteX1" fmla="*/ 1414707 w 1428573"/>
              <a:gd name="connsiteY1" fmla="*/ 103432 h 827332"/>
              <a:gd name="connsiteX2" fmla="*/ 559838 w 1428573"/>
              <a:gd name="connsiteY2" fmla="*/ 39138 h 827332"/>
              <a:gd name="connsiteX3" fmla="*/ 26438 w 1428573"/>
              <a:gd name="connsiteY3" fmla="*/ 508244 h 827332"/>
              <a:gd name="connsiteX4" fmla="*/ 12151 w 1428573"/>
              <a:gd name="connsiteY4" fmla="*/ 827332 h 827332"/>
              <a:gd name="connsiteX5" fmla="*/ 295519 w 1428573"/>
              <a:gd name="connsiteY5" fmla="*/ 477288 h 827332"/>
              <a:gd name="connsiteX6" fmla="*/ 833682 w 1428573"/>
              <a:gd name="connsiteY6" fmla="*/ 410613 h 827332"/>
              <a:gd name="connsiteX7" fmla="*/ 1417088 w 1428573"/>
              <a:gd name="connsiteY7" fmla="*/ 674932 h 827332"/>
              <a:gd name="connsiteX0" fmla="*/ 1417088 w 1428573"/>
              <a:gd name="connsiteY0" fmla="*/ 674932 h 827332"/>
              <a:gd name="connsiteX1" fmla="*/ 1414707 w 1428573"/>
              <a:gd name="connsiteY1" fmla="*/ 103432 h 827332"/>
              <a:gd name="connsiteX2" fmla="*/ 559838 w 1428573"/>
              <a:gd name="connsiteY2" fmla="*/ 39138 h 827332"/>
              <a:gd name="connsiteX3" fmla="*/ 26438 w 1428573"/>
              <a:gd name="connsiteY3" fmla="*/ 508244 h 827332"/>
              <a:gd name="connsiteX4" fmla="*/ 12151 w 1428573"/>
              <a:gd name="connsiteY4" fmla="*/ 827332 h 827332"/>
              <a:gd name="connsiteX5" fmla="*/ 295519 w 1428573"/>
              <a:gd name="connsiteY5" fmla="*/ 477288 h 827332"/>
              <a:gd name="connsiteX6" fmla="*/ 833682 w 1428573"/>
              <a:gd name="connsiteY6" fmla="*/ 410613 h 827332"/>
              <a:gd name="connsiteX7" fmla="*/ 1417088 w 1428573"/>
              <a:gd name="connsiteY7" fmla="*/ 674932 h 827332"/>
              <a:gd name="connsiteX0" fmla="*/ 1420075 w 1431560"/>
              <a:gd name="connsiteY0" fmla="*/ 674932 h 827332"/>
              <a:gd name="connsiteX1" fmla="*/ 1417694 w 1431560"/>
              <a:gd name="connsiteY1" fmla="*/ 103432 h 827332"/>
              <a:gd name="connsiteX2" fmla="*/ 562825 w 1431560"/>
              <a:gd name="connsiteY2" fmla="*/ 39138 h 827332"/>
              <a:gd name="connsiteX3" fmla="*/ 29425 w 1431560"/>
              <a:gd name="connsiteY3" fmla="*/ 508244 h 827332"/>
              <a:gd name="connsiteX4" fmla="*/ 15138 w 1431560"/>
              <a:gd name="connsiteY4" fmla="*/ 827332 h 827332"/>
              <a:gd name="connsiteX5" fmla="*/ 298506 w 1431560"/>
              <a:gd name="connsiteY5" fmla="*/ 477288 h 827332"/>
              <a:gd name="connsiteX6" fmla="*/ 836669 w 1431560"/>
              <a:gd name="connsiteY6" fmla="*/ 410613 h 827332"/>
              <a:gd name="connsiteX7" fmla="*/ 1420075 w 1431560"/>
              <a:gd name="connsiteY7" fmla="*/ 674932 h 827332"/>
              <a:gd name="connsiteX0" fmla="*/ 1420075 w 1431560"/>
              <a:gd name="connsiteY0" fmla="*/ 674932 h 827332"/>
              <a:gd name="connsiteX1" fmla="*/ 1417694 w 1431560"/>
              <a:gd name="connsiteY1" fmla="*/ 103432 h 827332"/>
              <a:gd name="connsiteX2" fmla="*/ 562825 w 1431560"/>
              <a:gd name="connsiteY2" fmla="*/ 39138 h 827332"/>
              <a:gd name="connsiteX3" fmla="*/ 29425 w 1431560"/>
              <a:gd name="connsiteY3" fmla="*/ 508244 h 827332"/>
              <a:gd name="connsiteX4" fmla="*/ 15138 w 1431560"/>
              <a:gd name="connsiteY4" fmla="*/ 827332 h 827332"/>
              <a:gd name="connsiteX5" fmla="*/ 298506 w 1431560"/>
              <a:gd name="connsiteY5" fmla="*/ 477288 h 827332"/>
              <a:gd name="connsiteX6" fmla="*/ 836669 w 1431560"/>
              <a:gd name="connsiteY6" fmla="*/ 410613 h 827332"/>
              <a:gd name="connsiteX7" fmla="*/ 1420075 w 1431560"/>
              <a:gd name="connsiteY7" fmla="*/ 674932 h 827332"/>
              <a:gd name="connsiteX0" fmla="*/ 1417089 w 1428574"/>
              <a:gd name="connsiteY0" fmla="*/ 674932 h 827332"/>
              <a:gd name="connsiteX1" fmla="*/ 1414708 w 1428574"/>
              <a:gd name="connsiteY1" fmla="*/ 103432 h 827332"/>
              <a:gd name="connsiteX2" fmla="*/ 559839 w 1428574"/>
              <a:gd name="connsiteY2" fmla="*/ 39138 h 827332"/>
              <a:gd name="connsiteX3" fmla="*/ 26439 w 1428574"/>
              <a:gd name="connsiteY3" fmla="*/ 508244 h 827332"/>
              <a:gd name="connsiteX4" fmla="*/ 12152 w 1428574"/>
              <a:gd name="connsiteY4" fmla="*/ 827332 h 827332"/>
              <a:gd name="connsiteX5" fmla="*/ 295520 w 1428574"/>
              <a:gd name="connsiteY5" fmla="*/ 477288 h 827332"/>
              <a:gd name="connsiteX6" fmla="*/ 833683 w 1428574"/>
              <a:gd name="connsiteY6" fmla="*/ 410613 h 827332"/>
              <a:gd name="connsiteX7" fmla="*/ 1417089 w 1428574"/>
              <a:gd name="connsiteY7" fmla="*/ 674932 h 827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28574" h="827332">
                <a:moveTo>
                  <a:pt x="1417089" y="674932"/>
                </a:moveTo>
                <a:cubicBezTo>
                  <a:pt x="1435346" y="448714"/>
                  <a:pt x="1429789" y="289169"/>
                  <a:pt x="1414708" y="103432"/>
                </a:cubicBezTo>
                <a:cubicBezTo>
                  <a:pt x="1129752" y="1038"/>
                  <a:pt x="880514" y="-34681"/>
                  <a:pt x="559839" y="39138"/>
                </a:cubicBezTo>
                <a:cubicBezTo>
                  <a:pt x="324968" y="93205"/>
                  <a:pt x="103590" y="255487"/>
                  <a:pt x="26439" y="508244"/>
                </a:cubicBezTo>
                <a:cubicBezTo>
                  <a:pt x="-7732" y="620193"/>
                  <a:pt x="-4518" y="728112"/>
                  <a:pt x="12152" y="827332"/>
                </a:cubicBezTo>
                <a:cubicBezTo>
                  <a:pt x="28424" y="650723"/>
                  <a:pt x="130471" y="560134"/>
                  <a:pt x="295520" y="477288"/>
                </a:cubicBezTo>
                <a:cubicBezTo>
                  <a:pt x="460084" y="394686"/>
                  <a:pt x="654458" y="387116"/>
                  <a:pt x="833683" y="410613"/>
                </a:cubicBezTo>
                <a:cubicBezTo>
                  <a:pt x="1142452" y="451094"/>
                  <a:pt x="1298820" y="584445"/>
                  <a:pt x="1417089" y="674932"/>
                </a:cubicBezTo>
                <a:close/>
              </a:path>
            </a:pathLst>
          </a:custGeom>
          <a:solidFill>
            <a:srgbClr val="0F238D"/>
          </a:solidFill>
          <a:ln w="127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sp>
        <p:nvSpPr>
          <p:cNvPr id="19" name="Date Placeholder 3"/>
          <p:cNvSpPr>
            <a:spLocks noGrp="1"/>
          </p:cNvSpPr>
          <p:nvPr userDrawn="1">
            <p:ph type="dt" sz="half" idx="10"/>
          </p:nvPr>
        </p:nvSpPr>
        <p:spPr>
          <a:xfrm>
            <a:off x="8252230" y="862398"/>
            <a:ext cx="751973" cy="9144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algn="r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fld id="{C19E589B-AAA2-4E83-AFD3-2993C58A57EE}" type="datetime3">
              <a:rPr lang="en-US" smtClean="0"/>
              <a:pPr/>
              <a:t>1 May 2019</a:t>
            </a:fld>
            <a:endParaRPr lang="en-US" dirty="0"/>
          </a:p>
        </p:txBody>
      </p:sp>
      <p:sp>
        <p:nvSpPr>
          <p:cNvPr id="20" name="Footer Placeholder 4"/>
          <p:cNvSpPr>
            <a:spLocks noGrp="1"/>
          </p:cNvSpPr>
          <p:nvPr userDrawn="1">
            <p:ph type="ftr" sz="quarter" idx="12"/>
          </p:nvPr>
        </p:nvSpPr>
        <p:spPr>
          <a:xfrm>
            <a:off x="8252229" y="563395"/>
            <a:ext cx="751973" cy="9144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21" name="Slide Number Placeholder 5"/>
          <p:cNvSpPr>
            <a:spLocks noGrp="1"/>
          </p:cNvSpPr>
          <p:nvPr userDrawn="1">
            <p:ph type="sldNum" sz="quarter" idx="13"/>
          </p:nvPr>
        </p:nvSpPr>
        <p:spPr>
          <a:xfrm>
            <a:off x="8252230" y="733787"/>
            <a:ext cx="751249" cy="9144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Slide </a:t>
            </a:r>
            <a:fld id="{2BF23E3A-8558-42B9-AEEE-59D910584A16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40005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33426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ASML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731520" y="347472"/>
            <a:ext cx="7365588" cy="55702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ext title, Arial </a:t>
            </a:r>
            <a:r>
              <a:rPr lang="en-US" dirty="0" err="1"/>
              <a:t>24pt</a:t>
            </a:r>
            <a:r>
              <a:rPr lang="en-US" dirty="0"/>
              <a:t> dark gray</a:t>
            </a:r>
            <a:br>
              <a:rPr lang="en-US" dirty="0"/>
            </a:br>
            <a:endParaRPr lang="en-US" dirty="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152" r="9151"/>
          <a:stretch/>
        </p:blipFill>
        <p:spPr>
          <a:xfrm>
            <a:off x="8097108" y="0"/>
            <a:ext cx="155122" cy="5143500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097280" y="1069848"/>
            <a:ext cx="6999828" cy="3429000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tx2"/>
                </a:solidFill>
              </a:defRPr>
            </a:lvl1pPr>
            <a:lvl2pPr marL="403225" indent="-173038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tabLst/>
              <a:defRPr sz="1600">
                <a:solidFill>
                  <a:schemeClr val="tx2"/>
                </a:solidFill>
              </a:defRPr>
            </a:lvl2pPr>
            <a:lvl3pPr marL="741363" indent="-173038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en-US" dirty="0"/>
              <a:t>Click to edit Master text styles, </a:t>
            </a:r>
            <a:r>
              <a:rPr lang="en-US" dirty="0" err="1"/>
              <a:t>18pt</a:t>
            </a:r>
            <a:r>
              <a:rPr lang="en-US" dirty="0"/>
              <a:t> middle blue</a:t>
            </a:r>
          </a:p>
          <a:p>
            <a:pPr lvl="1"/>
            <a:r>
              <a:rPr lang="en-US" dirty="0"/>
              <a:t>Second level, </a:t>
            </a:r>
            <a:r>
              <a:rPr lang="en-US" dirty="0" err="1"/>
              <a:t>16pt</a:t>
            </a:r>
            <a:r>
              <a:rPr lang="en-US" dirty="0"/>
              <a:t> middle blue</a:t>
            </a:r>
          </a:p>
          <a:p>
            <a:pPr lvl="2"/>
            <a:r>
              <a:rPr lang="en-US" dirty="0"/>
              <a:t>Third level, </a:t>
            </a:r>
            <a:r>
              <a:rPr lang="en-US" dirty="0" err="1"/>
              <a:t>14pt</a:t>
            </a:r>
            <a:r>
              <a:rPr lang="en-US" dirty="0"/>
              <a:t> middle blue</a:t>
            </a:r>
          </a:p>
        </p:txBody>
      </p:sp>
      <p:sp>
        <p:nvSpPr>
          <p:cNvPr id="37" name="Rectangle 36"/>
          <p:cNvSpPr/>
          <p:nvPr userDrawn="1"/>
        </p:nvSpPr>
        <p:spPr>
          <a:xfrm>
            <a:off x="8305800" y="133350"/>
            <a:ext cx="762000" cy="30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Freeform 37"/>
          <p:cNvSpPr/>
          <p:nvPr userDrawn="1"/>
        </p:nvSpPr>
        <p:spPr>
          <a:xfrm>
            <a:off x="8320087" y="164783"/>
            <a:ext cx="170905" cy="182992"/>
          </a:xfrm>
          <a:custGeom>
            <a:avLst/>
            <a:gdLst>
              <a:gd name="connsiteX0" fmla="*/ 0 w 1097756"/>
              <a:gd name="connsiteY0" fmla="*/ 0 h 1181100"/>
              <a:gd name="connsiteX1" fmla="*/ 745331 w 1097756"/>
              <a:gd name="connsiteY1" fmla="*/ 0 h 1181100"/>
              <a:gd name="connsiteX2" fmla="*/ 1097756 w 1097756"/>
              <a:gd name="connsiteY2" fmla="*/ 1178718 h 1181100"/>
              <a:gd name="connsiteX3" fmla="*/ 523875 w 1097756"/>
              <a:gd name="connsiteY3" fmla="*/ 1181100 h 1181100"/>
              <a:gd name="connsiteX4" fmla="*/ 0 w 1097756"/>
              <a:gd name="connsiteY4" fmla="*/ 0 h 1181100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523875 w 1400175"/>
              <a:gd name="connsiteY3" fmla="*/ 1181100 h 2197893"/>
              <a:gd name="connsiteX4" fmla="*/ 0 w 1400175"/>
              <a:gd name="connsiteY4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1047750 w 1400175"/>
              <a:gd name="connsiteY3" fmla="*/ 1790700 h 2197893"/>
              <a:gd name="connsiteX4" fmla="*/ 523875 w 1400175"/>
              <a:gd name="connsiteY4" fmla="*/ 1181100 h 2197893"/>
              <a:gd name="connsiteX5" fmla="*/ 0 w 1400175"/>
              <a:gd name="connsiteY5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50094 w 1400175"/>
              <a:gd name="connsiteY3" fmla="*/ 2193131 h 2197893"/>
              <a:gd name="connsiteX4" fmla="*/ 523875 w 1400175"/>
              <a:gd name="connsiteY4" fmla="*/ 1181100 h 2197893"/>
              <a:gd name="connsiteX5" fmla="*/ 0 w 1400175"/>
              <a:gd name="connsiteY5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523875 w 1400175"/>
              <a:gd name="connsiteY4" fmla="*/ 1181100 h 2197893"/>
              <a:gd name="connsiteX5" fmla="*/ 0 w 1400175"/>
              <a:gd name="connsiteY5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0 w 1400175"/>
              <a:gd name="connsiteY5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230981 w 1400175"/>
              <a:gd name="connsiteY5" fmla="*/ 295275 h 2197893"/>
              <a:gd name="connsiteX6" fmla="*/ 0 w 1400175"/>
              <a:gd name="connsiteY6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95262 w 1400175"/>
              <a:gd name="connsiteY5" fmla="*/ 1204913 h 2197893"/>
              <a:gd name="connsiteX6" fmla="*/ 0 w 1400175"/>
              <a:gd name="connsiteY6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0 w 1400175"/>
              <a:gd name="connsiteY6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135731 w 1400175"/>
              <a:gd name="connsiteY6" fmla="*/ 1102518 h 2197893"/>
              <a:gd name="connsiteX7" fmla="*/ 0 w 1400175"/>
              <a:gd name="connsiteY7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0 w 1400175"/>
              <a:gd name="connsiteY7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378619 w 1400175"/>
              <a:gd name="connsiteY7" fmla="*/ 862012 h 2197893"/>
              <a:gd name="connsiteX8" fmla="*/ 0 w 1400175"/>
              <a:gd name="connsiteY8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0 w 1400175"/>
              <a:gd name="connsiteY8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426244 w 1400175"/>
              <a:gd name="connsiteY8" fmla="*/ 1112043 h 2197893"/>
              <a:gd name="connsiteX9" fmla="*/ 0 w 1400175"/>
              <a:gd name="connsiteY9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88106 w 1400175"/>
              <a:gd name="connsiteY8" fmla="*/ 1795462 h 2197893"/>
              <a:gd name="connsiteX9" fmla="*/ 0 w 1400175"/>
              <a:gd name="connsiteY9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88106 w 1400175"/>
              <a:gd name="connsiteY8" fmla="*/ 1795462 h 2197893"/>
              <a:gd name="connsiteX9" fmla="*/ 52388 w 1400175"/>
              <a:gd name="connsiteY9" fmla="*/ 1131093 h 2197893"/>
              <a:gd name="connsiteX10" fmla="*/ 0 w 1400175"/>
              <a:gd name="connsiteY10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88106 w 1400175"/>
              <a:gd name="connsiteY8" fmla="*/ 1795462 h 2197893"/>
              <a:gd name="connsiteX9" fmla="*/ 0 w 1400175"/>
              <a:gd name="connsiteY9" fmla="*/ 2197893 h 2197893"/>
              <a:gd name="connsiteX10" fmla="*/ 0 w 1400175"/>
              <a:gd name="connsiteY10" fmla="*/ 0 h 2197893"/>
              <a:gd name="connsiteX0" fmla="*/ 4762 w 1404937"/>
              <a:gd name="connsiteY0" fmla="*/ 0 h 2197893"/>
              <a:gd name="connsiteX1" fmla="*/ 750093 w 1404937"/>
              <a:gd name="connsiteY1" fmla="*/ 0 h 2197893"/>
              <a:gd name="connsiteX2" fmla="*/ 1404937 w 1404937"/>
              <a:gd name="connsiteY2" fmla="*/ 2197893 h 2197893"/>
              <a:gd name="connsiteX3" fmla="*/ 752475 w 1404937"/>
              <a:gd name="connsiteY3" fmla="*/ 2195512 h 2197893"/>
              <a:gd name="connsiteX4" fmla="*/ 376237 w 1404937"/>
              <a:gd name="connsiteY4" fmla="*/ 478631 h 2197893"/>
              <a:gd name="connsiteX5" fmla="*/ 178592 w 1404937"/>
              <a:gd name="connsiteY5" fmla="*/ 1383507 h 2197893"/>
              <a:gd name="connsiteX6" fmla="*/ 614362 w 1404937"/>
              <a:gd name="connsiteY6" fmla="*/ 1385887 h 2197893"/>
              <a:gd name="connsiteX7" fmla="*/ 697706 w 1404937"/>
              <a:gd name="connsiteY7" fmla="*/ 1797843 h 2197893"/>
              <a:gd name="connsiteX8" fmla="*/ 92868 w 1404937"/>
              <a:gd name="connsiteY8" fmla="*/ 1795462 h 2197893"/>
              <a:gd name="connsiteX9" fmla="*/ 4762 w 1404937"/>
              <a:gd name="connsiteY9" fmla="*/ 2197893 h 2197893"/>
              <a:gd name="connsiteX10" fmla="*/ 0 w 1404937"/>
              <a:gd name="connsiteY10" fmla="*/ 2045493 h 2197893"/>
              <a:gd name="connsiteX11" fmla="*/ 4762 w 1404937"/>
              <a:gd name="connsiteY11" fmla="*/ 0 h 2197893"/>
              <a:gd name="connsiteX0" fmla="*/ 652462 w 2052637"/>
              <a:gd name="connsiteY0" fmla="*/ 0 h 2197893"/>
              <a:gd name="connsiteX1" fmla="*/ 1397793 w 2052637"/>
              <a:gd name="connsiteY1" fmla="*/ 0 h 2197893"/>
              <a:gd name="connsiteX2" fmla="*/ 2052637 w 2052637"/>
              <a:gd name="connsiteY2" fmla="*/ 2197893 h 2197893"/>
              <a:gd name="connsiteX3" fmla="*/ 1400175 w 2052637"/>
              <a:gd name="connsiteY3" fmla="*/ 2195512 h 2197893"/>
              <a:gd name="connsiteX4" fmla="*/ 1023937 w 2052637"/>
              <a:gd name="connsiteY4" fmla="*/ 478631 h 2197893"/>
              <a:gd name="connsiteX5" fmla="*/ 826292 w 2052637"/>
              <a:gd name="connsiteY5" fmla="*/ 1383507 h 2197893"/>
              <a:gd name="connsiteX6" fmla="*/ 1262062 w 2052637"/>
              <a:gd name="connsiteY6" fmla="*/ 1385887 h 2197893"/>
              <a:gd name="connsiteX7" fmla="*/ 1345406 w 2052637"/>
              <a:gd name="connsiteY7" fmla="*/ 1797843 h 2197893"/>
              <a:gd name="connsiteX8" fmla="*/ 740568 w 2052637"/>
              <a:gd name="connsiteY8" fmla="*/ 1795462 h 2197893"/>
              <a:gd name="connsiteX9" fmla="*/ 652462 w 2052637"/>
              <a:gd name="connsiteY9" fmla="*/ 2197893 h 2197893"/>
              <a:gd name="connsiteX10" fmla="*/ 0 w 2052637"/>
              <a:gd name="connsiteY10" fmla="*/ 2193131 h 2197893"/>
              <a:gd name="connsiteX11" fmla="*/ 652462 w 2052637"/>
              <a:gd name="connsiteY11" fmla="*/ 0 h 2197893"/>
              <a:gd name="connsiteX0" fmla="*/ 652462 w 2052637"/>
              <a:gd name="connsiteY0" fmla="*/ 1 h 2197894"/>
              <a:gd name="connsiteX1" fmla="*/ 1397793 w 2052637"/>
              <a:gd name="connsiteY1" fmla="*/ 1 h 2197894"/>
              <a:gd name="connsiteX2" fmla="*/ 2052637 w 2052637"/>
              <a:gd name="connsiteY2" fmla="*/ 2197894 h 2197894"/>
              <a:gd name="connsiteX3" fmla="*/ 1400175 w 2052637"/>
              <a:gd name="connsiteY3" fmla="*/ 2195513 h 2197894"/>
              <a:gd name="connsiteX4" fmla="*/ 1023937 w 2052637"/>
              <a:gd name="connsiteY4" fmla="*/ 478632 h 2197894"/>
              <a:gd name="connsiteX5" fmla="*/ 826292 w 2052637"/>
              <a:gd name="connsiteY5" fmla="*/ 1383508 h 2197894"/>
              <a:gd name="connsiteX6" fmla="*/ 1262062 w 2052637"/>
              <a:gd name="connsiteY6" fmla="*/ 1385888 h 2197894"/>
              <a:gd name="connsiteX7" fmla="*/ 1345406 w 2052637"/>
              <a:gd name="connsiteY7" fmla="*/ 1797844 h 2197894"/>
              <a:gd name="connsiteX8" fmla="*/ 740568 w 2052637"/>
              <a:gd name="connsiteY8" fmla="*/ 1795463 h 2197894"/>
              <a:gd name="connsiteX9" fmla="*/ 652462 w 2052637"/>
              <a:gd name="connsiteY9" fmla="*/ 2197894 h 2197894"/>
              <a:gd name="connsiteX10" fmla="*/ 0 w 2052637"/>
              <a:gd name="connsiteY10" fmla="*/ 2193132 h 2197894"/>
              <a:gd name="connsiteX11" fmla="*/ 652462 w 2052637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62133 w 2052708"/>
              <a:gd name="connsiteY6" fmla="*/ 1385888 h 2197894"/>
              <a:gd name="connsiteX7" fmla="*/ 1345477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14508 w 2052708"/>
              <a:gd name="connsiteY6" fmla="*/ 1383506 h 2197894"/>
              <a:gd name="connsiteX7" fmla="*/ 1345477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14508 w 2052708"/>
              <a:gd name="connsiteY6" fmla="*/ 1383506 h 2197894"/>
              <a:gd name="connsiteX7" fmla="*/ 1312139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19271 w 2052708"/>
              <a:gd name="connsiteY6" fmla="*/ 1376363 h 2197894"/>
              <a:gd name="connsiteX7" fmla="*/ 1312139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21653 w 2052708"/>
              <a:gd name="connsiteY6" fmla="*/ 1383507 h 2197894"/>
              <a:gd name="connsiteX7" fmla="*/ 1312139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21653 w 2052708"/>
              <a:gd name="connsiteY6" fmla="*/ 1383507 h 2197894"/>
              <a:gd name="connsiteX7" fmla="*/ 1312139 w 2052708"/>
              <a:gd name="connsiteY7" fmla="*/ 1795463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052708" h="2197894">
                <a:moveTo>
                  <a:pt x="652533" y="1"/>
                </a:moveTo>
                <a:lnTo>
                  <a:pt x="1397864" y="1"/>
                </a:lnTo>
                <a:lnTo>
                  <a:pt x="2052708" y="2197894"/>
                </a:lnTo>
                <a:lnTo>
                  <a:pt x="1400246" y="2195513"/>
                </a:lnTo>
                <a:lnTo>
                  <a:pt x="1024008" y="478632"/>
                </a:lnTo>
                <a:lnTo>
                  <a:pt x="826363" y="1383508"/>
                </a:lnTo>
                <a:lnTo>
                  <a:pt x="1221653" y="1383507"/>
                </a:lnTo>
                <a:lnTo>
                  <a:pt x="1312139" y="1795463"/>
                </a:lnTo>
                <a:lnTo>
                  <a:pt x="740639" y="1795463"/>
                </a:lnTo>
                <a:lnTo>
                  <a:pt x="652533" y="2197894"/>
                </a:lnTo>
                <a:lnTo>
                  <a:pt x="71" y="2193132"/>
                </a:lnTo>
                <a:cubicBezTo>
                  <a:pt x="-7867" y="2197101"/>
                  <a:pt x="648565" y="-1587"/>
                  <a:pt x="652533" y="1"/>
                </a:cubicBezTo>
                <a:close/>
              </a:path>
            </a:pathLst>
          </a:custGeom>
          <a:solidFill>
            <a:srgbClr val="0F238D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sp>
        <p:nvSpPr>
          <p:cNvPr id="39" name="Freeform 38"/>
          <p:cNvSpPr/>
          <p:nvPr userDrawn="1"/>
        </p:nvSpPr>
        <p:spPr>
          <a:xfrm>
            <a:off x="8653685" y="164584"/>
            <a:ext cx="208171" cy="182993"/>
          </a:xfrm>
          <a:custGeom>
            <a:avLst/>
            <a:gdLst>
              <a:gd name="connsiteX0" fmla="*/ 0 w 688182"/>
              <a:gd name="connsiteY0" fmla="*/ 950119 h 950119"/>
              <a:gd name="connsiteX1" fmla="*/ 611982 w 688182"/>
              <a:gd name="connsiteY1" fmla="*/ 950119 h 950119"/>
              <a:gd name="connsiteX2" fmla="*/ 688182 w 688182"/>
              <a:gd name="connsiteY2" fmla="*/ 0 h 950119"/>
              <a:gd name="connsiteX3" fmla="*/ 0 w 688182"/>
              <a:gd name="connsiteY3" fmla="*/ 950119 h 950119"/>
              <a:gd name="connsiteX0" fmla="*/ 0 w 688182"/>
              <a:gd name="connsiteY0" fmla="*/ 950119 h 950119"/>
              <a:gd name="connsiteX1" fmla="*/ 611982 w 688182"/>
              <a:gd name="connsiteY1" fmla="*/ 950119 h 950119"/>
              <a:gd name="connsiteX2" fmla="*/ 688182 w 688182"/>
              <a:gd name="connsiteY2" fmla="*/ 0 h 950119"/>
              <a:gd name="connsiteX3" fmla="*/ 214313 w 688182"/>
              <a:gd name="connsiteY3" fmla="*/ 652463 h 950119"/>
              <a:gd name="connsiteX4" fmla="*/ 0 w 688182"/>
              <a:gd name="connsiteY4" fmla="*/ 950119 h 950119"/>
              <a:gd name="connsiteX0" fmla="*/ 0 w 688182"/>
              <a:gd name="connsiteY0" fmla="*/ 950119 h 950119"/>
              <a:gd name="connsiteX1" fmla="*/ 611982 w 688182"/>
              <a:gd name="connsiteY1" fmla="*/ 950119 h 950119"/>
              <a:gd name="connsiteX2" fmla="*/ 688182 w 688182"/>
              <a:gd name="connsiteY2" fmla="*/ 0 h 950119"/>
              <a:gd name="connsiteX3" fmla="*/ 111919 w 688182"/>
              <a:gd name="connsiteY3" fmla="*/ 95250 h 950119"/>
              <a:gd name="connsiteX4" fmla="*/ 0 w 688182"/>
              <a:gd name="connsiteY4" fmla="*/ 950119 h 950119"/>
              <a:gd name="connsiteX0" fmla="*/ 0 w 723900"/>
              <a:gd name="connsiteY0" fmla="*/ 1395413 h 1395413"/>
              <a:gd name="connsiteX1" fmla="*/ 611982 w 723900"/>
              <a:gd name="connsiteY1" fmla="*/ 1395413 h 1395413"/>
              <a:gd name="connsiteX2" fmla="*/ 723900 w 723900"/>
              <a:gd name="connsiteY2" fmla="*/ 0 h 1395413"/>
              <a:gd name="connsiteX3" fmla="*/ 111919 w 723900"/>
              <a:gd name="connsiteY3" fmla="*/ 540544 h 1395413"/>
              <a:gd name="connsiteX4" fmla="*/ 0 w 723900"/>
              <a:gd name="connsiteY4" fmla="*/ 1395413 h 1395413"/>
              <a:gd name="connsiteX0" fmla="*/ 0 w 723900"/>
              <a:gd name="connsiteY0" fmla="*/ 2031206 h 2031206"/>
              <a:gd name="connsiteX1" fmla="*/ 611982 w 723900"/>
              <a:gd name="connsiteY1" fmla="*/ 2031206 h 2031206"/>
              <a:gd name="connsiteX2" fmla="*/ 723900 w 723900"/>
              <a:gd name="connsiteY2" fmla="*/ 635793 h 2031206"/>
              <a:gd name="connsiteX3" fmla="*/ 266700 w 723900"/>
              <a:gd name="connsiteY3" fmla="*/ 0 h 2031206"/>
              <a:gd name="connsiteX4" fmla="*/ 0 w 723900"/>
              <a:gd name="connsiteY4" fmla="*/ 2031206 h 2031206"/>
              <a:gd name="connsiteX0" fmla="*/ 0 w 723900"/>
              <a:gd name="connsiteY0" fmla="*/ 2195513 h 2195513"/>
              <a:gd name="connsiteX1" fmla="*/ 611982 w 723900"/>
              <a:gd name="connsiteY1" fmla="*/ 2195513 h 2195513"/>
              <a:gd name="connsiteX2" fmla="*/ 723900 w 723900"/>
              <a:gd name="connsiteY2" fmla="*/ 800100 h 2195513"/>
              <a:gd name="connsiteX3" fmla="*/ 283369 w 723900"/>
              <a:gd name="connsiteY3" fmla="*/ 0 h 2195513"/>
              <a:gd name="connsiteX4" fmla="*/ 0 w 723900"/>
              <a:gd name="connsiteY4" fmla="*/ 2195513 h 2195513"/>
              <a:gd name="connsiteX0" fmla="*/ 0 w 723900"/>
              <a:gd name="connsiteY0" fmla="*/ 2195513 h 2195513"/>
              <a:gd name="connsiteX1" fmla="*/ 611982 w 723900"/>
              <a:gd name="connsiteY1" fmla="*/ 2195513 h 2195513"/>
              <a:gd name="connsiteX2" fmla="*/ 723900 w 723900"/>
              <a:gd name="connsiteY2" fmla="*/ 800100 h 2195513"/>
              <a:gd name="connsiteX3" fmla="*/ 500063 w 723900"/>
              <a:gd name="connsiteY3" fmla="*/ 388145 h 2195513"/>
              <a:gd name="connsiteX4" fmla="*/ 283369 w 723900"/>
              <a:gd name="connsiteY4" fmla="*/ 0 h 2195513"/>
              <a:gd name="connsiteX5" fmla="*/ 0 w 723900"/>
              <a:gd name="connsiteY5" fmla="*/ 2195513 h 2195513"/>
              <a:gd name="connsiteX0" fmla="*/ 0 w 945356"/>
              <a:gd name="connsiteY0" fmla="*/ 2195513 h 2195513"/>
              <a:gd name="connsiteX1" fmla="*/ 611982 w 945356"/>
              <a:gd name="connsiteY1" fmla="*/ 2195513 h 2195513"/>
              <a:gd name="connsiteX2" fmla="*/ 723900 w 945356"/>
              <a:gd name="connsiteY2" fmla="*/ 800100 h 2195513"/>
              <a:gd name="connsiteX3" fmla="*/ 945356 w 945356"/>
              <a:gd name="connsiteY3" fmla="*/ 2382 h 2195513"/>
              <a:gd name="connsiteX4" fmla="*/ 283369 w 945356"/>
              <a:gd name="connsiteY4" fmla="*/ 0 h 2195513"/>
              <a:gd name="connsiteX5" fmla="*/ 0 w 945356"/>
              <a:gd name="connsiteY5" fmla="*/ 2195513 h 2195513"/>
              <a:gd name="connsiteX0" fmla="*/ 0 w 945356"/>
              <a:gd name="connsiteY0" fmla="*/ 2195513 h 2195513"/>
              <a:gd name="connsiteX1" fmla="*/ 611982 w 945356"/>
              <a:gd name="connsiteY1" fmla="*/ 2195513 h 2195513"/>
              <a:gd name="connsiteX2" fmla="*/ 723900 w 945356"/>
              <a:gd name="connsiteY2" fmla="*/ 800100 h 2195513"/>
              <a:gd name="connsiteX3" fmla="*/ 790575 w 945356"/>
              <a:gd name="connsiteY3" fmla="*/ 545308 h 2195513"/>
              <a:gd name="connsiteX4" fmla="*/ 945356 w 945356"/>
              <a:gd name="connsiteY4" fmla="*/ 2382 h 2195513"/>
              <a:gd name="connsiteX5" fmla="*/ 283369 w 945356"/>
              <a:gd name="connsiteY5" fmla="*/ 0 h 2195513"/>
              <a:gd name="connsiteX6" fmla="*/ 0 w 945356"/>
              <a:gd name="connsiteY6" fmla="*/ 2195513 h 2195513"/>
              <a:gd name="connsiteX0" fmla="*/ 0 w 1252537"/>
              <a:gd name="connsiteY0" fmla="*/ 2195513 h 2195513"/>
              <a:gd name="connsiteX1" fmla="*/ 611982 w 1252537"/>
              <a:gd name="connsiteY1" fmla="*/ 2195513 h 2195513"/>
              <a:gd name="connsiteX2" fmla="*/ 723900 w 1252537"/>
              <a:gd name="connsiteY2" fmla="*/ 800100 h 2195513"/>
              <a:gd name="connsiteX3" fmla="*/ 1252537 w 1252537"/>
              <a:gd name="connsiteY3" fmla="*/ 1333501 h 2195513"/>
              <a:gd name="connsiteX4" fmla="*/ 945356 w 1252537"/>
              <a:gd name="connsiteY4" fmla="*/ 2382 h 2195513"/>
              <a:gd name="connsiteX5" fmla="*/ 283369 w 1252537"/>
              <a:gd name="connsiteY5" fmla="*/ 0 h 2195513"/>
              <a:gd name="connsiteX6" fmla="*/ 0 w 1252537"/>
              <a:gd name="connsiteY6" fmla="*/ 2195513 h 2195513"/>
              <a:gd name="connsiteX0" fmla="*/ 0 w 1252537"/>
              <a:gd name="connsiteY0" fmla="*/ 2195513 h 2195513"/>
              <a:gd name="connsiteX1" fmla="*/ 611982 w 1252537"/>
              <a:gd name="connsiteY1" fmla="*/ 2195513 h 2195513"/>
              <a:gd name="connsiteX2" fmla="*/ 723900 w 1252537"/>
              <a:gd name="connsiteY2" fmla="*/ 800100 h 2195513"/>
              <a:gd name="connsiteX3" fmla="*/ 1031082 w 1252537"/>
              <a:gd name="connsiteY3" fmla="*/ 1112045 h 2195513"/>
              <a:gd name="connsiteX4" fmla="*/ 1252537 w 1252537"/>
              <a:gd name="connsiteY4" fmla="*/ 1333501 h 2195513"/>
              <a:gd name="connsiteX5" fmla="*/ 945356 w 1252537"/>
              <a:gd name="connsiteY5" fmla="*/ 2382 h 2195513"/>
              <a:gd name="connsiteX6" fmla="*/ 283369 w 1252537"/>
              <a:gd name="connsiteY6" fmla="*/ 0 h 2195513"/>
              <a:gd name="connsiteX7" fmla="*/ 0 w 1252537"/>
              <a:gd name="connsiteY7" fmla="*/ 2195513 h 2195513"/>
              <a:gd name="connsiteX0" fmla="*/ 0 w 1252537"/>
              <a:gd name="connsiteY0" fmla="*/ 2195513 h 2195513"/>
              <a:gd name="connsiteX1" fmla="*/ 611982 w 1252537"/>
              <a:gd name="connsiteY1" fmla="*/ 2195513 h 2195513"/>
              <a:gd name="connsiteX2" fmla="*/ 723900 w 1252537"/>
              <a:gd name="connsiteY2" fmla="*/ 800100 h 2195513"/>
              <a:gd name="connsiteX3" fmla="*/ 1007270 w 1252537"/>
              <a:gd name="connsiteY3" fmla="*/ 2193132 h 2195513"/>
              <a:gd name="connsiteX4" fmla="*/ 1252537 w 1252537"/>
              <a:gd name="connsiteY4" fmla="*/ 1333501 h 2195513"/>
              <a:gd name="connsiteX5" fmla="*/ 945356 w 1252537"/>
              <a:gd name="connsiteY5" fmla="*/ 2382 h 2195513"/>
              <a:gd name="connsiteX6" fmla="*/ 283369 w 1252537"/>
              <a:gd name="connsiteY6" fmla="*/ 0 h 2195513"/>
              <a:gd name="connsiteX7" fmla="*/ 0 w 1252537"/>
              <a:gd name="connsiteY7" fmla="*/ 2195513 h 2195513"/>
              <a:gd name="connsiteX0" fmla="*/ 0 w 1252537"/>
              <a:gd name="connsiteY0" fmla="*/ 2195513 h 2195513"/>
              <a:gd name="connsiteX1" fmla="*/ 611982 w 1252537"/>
              <a:gd name="connsiteY1" fmla="*/ 2195513 h 2195513"/>
              <a:gd name="connsiteX2" fmla="*/ 723900 w 1252537"/>
              <a:gd name="connsiteY2" fmla="*/ 800100 h 2195513"/>
              <a:gd name="connsiteX3" fmla="*/ 1007270 w 1252537"/>
              <a:gd name="connsiteY3" fmla="*/ 2193132 h 2195513"/>
              <a:gd name="connsiteX4" fmla="*/ 1173957 w 1252537"/>
              <a:gd name="connsiteY4" fmla="*/ 1600202 h 2195513"/>
              <a:gd name="connsiteX5" fmla="*/ 1252537 w 1252537"/>
              <a:gd name="connsiteY5" fmla="*/ 1333501 h 2195513"/>
              <a:gd name="connsiteX6" fmla="*/ 945356 w 1252537"/>
              <a:gd name="connsiteY6" fmla="*/ 2382 h 2195513"/>
              <a:gd name="connsiteX7" fmla="*/ 283369 w 1252537"/>
              <a:gd name="connsiteY7" fmla="*/ 0 h 2195513"/>
              <a:gd name="connsiteX8" fmla="*/ 0 w 1252537"/>
              <a:gd name="connsiteY8" fmla="*/ 2195513 h 2195513"/>
              <a:gd name="connsiteX0" fmla="*/ 0 w 1488282"/>
              <a:gd name="connsiteY0" fmla="*/ 2195513 h 2195514"/>
              <a:gd name="connsiteX1" fmla="*/ 611982 w 1488282"/>
              <a:gd name="connsiteY1" fmla="*/ 2195513 h 2195514"/>
              <a:gd name="connsiteX2" fmla="*/ 723900 w 1488282"/>
              <a:gd name="connsiteY2" fmla="*/ 800100 h 2195514"/>
              <a:gd name="connsiteX3" fmla="*/ 1007270 w 1488282"/>
              <a:gd name="connsiteY3" fmla="*/ 2193132 h 2195514"/>
              <a:gd name="connsiteX4" fmla="*/ 1488282 w 1488282"/>
              <a:gd name="connsiteY4" fmla="*/ 2195514 h 2195514"/>
              <a:gd name="connsiteX5" fmla="*/ 1252537 w 1488282"/>
              <a:gd name="connsiteY5" fmla="*/ 1333501 h 2195514"/>
              <a:gd name="connsiteX6" fmla="*/ 945356 w 1488282"/>
              <a:gd name="connsiteY6" fmla="*/ 2382 h 2195514"/>
              <a:gd name="connsiteX7" fmla="*/ 283369 w 1488282"/>
              <a:gd name="connsiteY7" fmla="*/ 0 h 2195514"/>
              <a:gd name="connsiteX8" fmla="*/ 0 w 1488282"/>
              <a:gd name="connsiteY8" fmla="*/ 2195513 h 2195514"/>
              <a:gd name="connsiteX0" fmla="*/ 0 w 1488282"/>
              <a:gd name="connsiteY0" fmla="*/ 2195513 h 2195514"/>
              <a:gd name="connsiteX1" fmla="*/ 611982 w 1488282"/>
              <a:gd name="connsiteY1" fmla="*/ 2195513 h 2195514"/>
              <a:gd name="connsiteX2" fmla="*/ 723900 w 1488282"/>
              <a:gd name="connsiteY2" fmla="*/ 800100 h 2195514"/>
              <a:gd name="connsiteX3" fmla="*/ 1007270 w 1488282"/>
              <a:gd name="connsiteY3" fmla="*/ 2193132 h 2195514"/>
              <a:gd name="connsiteX4" fmla="*/ 1488282 w 1488282"/>
              <a:gd name="connsiteY4" fmla="*/ 2195514 h 2195514"/>
              <a:gd name="connsiteX5" fmla="*/ 1352549 w 1488282"/>
              <a:gd name="connsiteY5" fmla="*/ 1690688 h 2195514"/>
              <a:gd name="connsiteX6" fmla="*/ 1252537 w 1488282"/>
              <a:gd name="connsiteY6" fmla="*/ 1333501 h 2195514"/>
              <a:gd name="connsiteX7" fmla="*/ 945356 w 1488282"/>
              <a:gd name="connsiteY7" fmla="*/ 2382 h 2195514"/>
              <a:gd name="connsiteX8" fmla="*/ 283369 w 1488282"/>
              <a:gd name="connsiteY8" fmla="*/ 0 h 2195514"/>
              <a:gd name="connsiteX9" fmla="*/ 0 w 1488282"/>
              <a:gd name="connsiteY9" fmla="*/ 2195513 h 2195514"/>
              <a:gd name="connsiteX0" fmla="*/ 0 w 1781174"/>
              <a:gd name="connsiteY0" fmla="*/ 2195513 h 2195514"/>
              <a:gd name="connsiteX1" fmla="*/ 611982 w 1781174"/>
              <a:gd name="connsiteY1" fmla="*/ 2195513 h 2195514"/>
              <a:gd name="connsiteX2" fmla="*/ 723900 w 1781174"/>
              <a:gd name="connsiteY2" fmla="*/ 800100 h 2195514"/>
              <a:gd name="connsiteX3" fmla="*/ 1007270 w 1781174"/>
              <a:gd name="connsiteY3" fmla="*/ 2193132 h 2195514"/>
              <a:gd name="connsiteX4" fmla="*/ 1488282 w 1781174"/>
              <a:gd name="connsiteY4" fmla="*/ 2195514 h 2195514"/>
              <a:gd name="connsiteX5" fmla="*/ 1781174 w 1781174"/>
              <a:gd name="connsiteY5" fmla="*/ 792957 h 2195514"/>
              <a:gd name="connsiteX6" fmla="*/ 1252537 w 1781174"/>
              <a:gd name="connsiteY6" fmla="*/ 1333501 h 2195514"/>
              <a:gd name="connsiteX7" fmla="*/ 945356 w 1781174"/>
              <a:gd name="connsiteY7" fmla="*/ 2382 h 2195514"/>
              <a:gd name="connsiteX8" fmla="*/ 283369 w 1781174"/>
              <a:gd name="connsiteY8" fmla="*/ 0 h 2195514"/>
              <a:gd name="connsiteX9" fmla="*/ 0 w 1781174"/>
              <a:gd name="connsiteY9" fmla="*/ 2195513 h 2195514"/>
              <a:gd name="connsiteX0" fmla="*/ 0 w 1781174"/>
              <a:gd name="connsiteY0" fmla="*/ 2195513 h 2195514"/>
              <a:gd name="connsiteX1" fmla="*/ 611982 w 1781174"/>
              <a:gd name="connsiteY1" fmla="*/ 2195513 h 2195514"/>
              <a:gd name="connsiteX2" fmla="*/ 723900 w 1781174"/>
              <a:gd name="connsiteY2" fmla="*/ 800100 h 2195514"/>
              <a:gd name="connsiteX3" fmla="*/ 1007270 w 1781174"/>
              <a:gd name="connsiteY3" fmla="*/ 2193132 h 2195514"/>
              <a:gd name="connsiteX4" fmla="*/ 1488282 w 1781174"/>
              <a:gd name="connsiteY4" fmla="*/ 2195514 h 2195514"/>
              <a:gd name="connsiteX5" fmla="*/ 1781174 w 1781174"/>
              <a:gd name="connsiteY5" fmla="*/ 792957 h 2195514"/>
              <a:gd name="connsiteX6" fmla="*/ 1528762 w 1781174"/>
              <a:gd name="connsiteY6" fmla="*/ 1052513 h 2195514"/>
              <a:gd name="connsiteX7" fmla="*/ 1252537 w 1781174"/>
              <a:gd name="connsiteY7" fmla="*/ 1333501 h 2195514"/>
              <a:gd name="connsiteX8" fmla="*/ 945356 w 1781174"/>
              <a:gd name="connsiteY8" fmla="*/ 2382 h 2195514"/>
              <a:gd name="connsiteX9" fmla="*/ 283369 w 1781174"/>
              <a:gd name="connsiteY9" fmla="*/ 0 h 2195514"/>
              <a:gd name="connsiteX10" fmla="*/ 0 w 1781174"/>
              <a:gd name="connsiteY10" fmla="*/ 2195513 h 2195514"/>
              <a:gd name="connsiteX0" fmla="*/ 0 w 1781174"/>
              <a:gd name="connsiteY0" fmla="*/ 2197894 h 2197895"/>
              <a:gd name="connsiteX1" fmla="*/ 611982 w 1781174"/>
              <a:gd name="connsiteY1" fmla="*/ 2197894 h 2197895"/>
              <a:gd name="connsiteX2" fmla="*/ 723900 w 1781174"/>
              <a:gd name="connsiteY2" fmla="*/ 802481 h 2197895"/>
              <a:gd name="connsiteX3" fmla="*/ 1007270 w 1781174"/>
              <a:gd name="connsiteY3" fmla="*/ 2195513 h 2197895"/>
              <a:gd name="connsiteX4" fmla="*/ 1488282 w 1781174"/>
              <a:gd name="connsiteY4" fmla="*/ 2197895 h 2197895"/>
              <a:gd name="connsiteX5" fmla="*/ 1781174 w 1781174"/>
              <a:gd name="connsiteY5" fmla="*/ 795338 h 2197895"/>
              <a:gd name="connsiteX6" fmla="*/ 1559719 w 1781174"/>
              <a:gd name="connsiteY6" fmla="*/ 0 h 2197895"/>
              <a:gd name="connsiteX7" fmla="*/ 1252537 w 1781174"/>
              <a:gd name="connsiteY7" fmla="*/ 1335882 h 2197895"/>
              <a:gd name="connsiteX8" fmla="*/ 945356 w 1781174"/>
              <a:gd name="connsiteY8" fmla="*/ 4763 h 2197895"/>
              <a:gd name="connsiteX9" fmla="*/ 283369 w 1781174"/>
              <a:gd name="connsiteY9" fmla="*/ 2381 h 2197895"/>
              <a:gd name="connsiteX10" fmla="*/ 0 w 1781174"/>
              <a:gd name="connsiteY10" fmla="*/ 2197894 h 2197895"/>
              <a:gd name="connsiteX0" fmla="*/ 0 w 1781174"/>
              <a:gd name="connsiteY0" fmla="*/ 2197894 h 2197895"/>
              <a:gd name="connsiteX1" fmla="*/ 611982 w 1781174"/>
              <a:gd name="connsiteY1" fmla="*/ 2197894 h 2197895"/>
              <a:gd name="connsiteX2" fmla="*/ 723900 w 1781174"/>
              <a:gd name="connsiteY2" fmla="*/ 802481 h 2197895"/>
              <a:gd name="connsiteX3" fmla="*/ 1007270 w 1781174"/>
              <a:gd name="connsiteY3" fmla="*/ 2195513 h 2197895"/>
              <a:gd name="connsiteX4" fmla="*/ 1488282 w 1781174"/>
              <a:gd name="connsiteY4" fmla="*/ 2197895 h 2197895"/>
              <a:gd name="connsiteX5" fmla="*/ 1781174 w 1781174"/>
              <a:gd name="connsiteY5" fmla="*/ 795338 h 2197895"/>
              <a:gd name="connsiteX6" fmla="*/ 1688306 w 1781174"/>
              <a:gd name="connsiteY6" fmla="*/ 454820 h 2197895"/>
              <a:gd name="connsiteX7" fmla="*/ 1559719 w 1781174"/>
              <a:gd name="connsiteY7" fmla="*/ 0 h 2197895"/>
              <a:gd name="connsiteX8" fmla="*/ 1252537 w 1781174"/>
              <a:gd name="connsiteY8" fmla="*/ 1335882 h 2197895"/>
              <a:gd name="connsiteX9" fmla="*/ 945356 w 1781174"/>
              <a:gd name="connsiteY9" fmla="*/ 4763 h 2197895"/>
              <a:gd name="connsiteX10" fmla="*/ 283369 w 1781174"/>
              <a:gd name="connsiteY10" fmla="*/ 2381 h 2197895"/>
              <a:gd name="connsiteX11" fmla="*/ 0 w 1781174"/>
              <a:gd name="connsiteY11" fmla="*/ 2197894 h 2197895"/>
              <a:gd name="connsiteX0" fmla="*/ 0 w 2212181"/>
              <a:gd name="connsiteY0" fmla="*/ 2197894 h 2197895"/>
              <a:gd name="connsiteX1" fmla="*/ 611982 w 2212181"/>
              <a:gd name="connsiteY1" fmla="*/ 2197894 h 2197895"/>
              <a:gd name="connsiteX2" fmla="*/ 723900 w 2212181"/>
              <a:gd name="connsiteY2" fmla="*/ 802481 h 2197895"/>
              <a:gd name="connsiteX3" fmla="*/ 1007270 w 2212181"/>
              <a:gd name="connsiteY3" fmla="*/ 2195513 h 2197895"/>
              <a:gd name="connsiteX4" fmla="*/ 1488282 w 2212181"/>
              <a:gd name="connsiteY4" fmla="*/ 2197895 h 2197895"/>
              <a:gd name="connsiteX5" fmla="*/ 1781174 w 2212181"/>
              <a:gd name="connsiteY5" fmla="*/ 795338 h 2197895"/>
              <a:gd name="connsiteX6" fmla="*/ 2212181 w 2212181"/>
              <a:gd name="connsiteY6" fmla="*/ 7145 h 2197895"/>
              <a:gd name="connsiteX7" fmla="*/ 1559719 w 2212181"/>
              <a:gd name="connsiteY7" fmla="*/ 0 h 2197895"/>
              <a:gd name="connsiteX8" fmla="*/ 1252537 w 2212181"/>
              <a:gd name="connsiteY8" fmla="*/ 1335882 h 2197895"/>
              <a:gd name="connsiteX9" fmla="*/ 945356 w 2212181"/>
              <a:gd name="connsiteY9" fmla="*/ 4763 h 2197895"/>
              <a:gd name="connsiteX10" fmla="*/ 283369 w 2212181"/>
              <a:gd name="connsiteY10" fmla="*/ 2381 h 2197895"/>
              <a:gd name="connsiteX11" fmla="*/ 0 w 2212181"/>
              <a:gd name="connsiteY11" fmla="*/ 2197894 h 2197895"/>
              <a:gd name="connsiteX0" fmla="*/ 0 w 2212181"/>
              <a:gd name="connsiteY0" fmla="*/ 2197894 h 2197895"/>
              <a:gd name="connsiteX1" fmla="*/ 611982 w 2212181"/>
              <a:gd name="connsiteY1" fmla="*/ 2197894 h 2197895"/>
              <a:gd name="connsiteX2" fmla="*/ 723900 w 2212181"/>
              <a:gd name="connsiteY2" fmla="*/ 802481 h 2197895"/>
              <a:gd name="connsiteX3" fmla="*/ 1007270 w 2212181"/>
              <a:gd name="connsiteY3" fmla="*/ 2195513 h 2197895"/>
              <a:gd name="connsiteX4" fmla="*/ 1488282 w 2212181"/>
              <a:gd name="connsiteY4" fmla="*/ 2197895 h 2197895"/>
              <a:gd name="connsiteX5" fmla="*/ 1781174 w 2212181"/>
              <a:gd name="connsiteY5" fmla="*/ 795338 h 2197895"/>
              <a:gd name="connsiteX6" fmla="*/ 2035968 w 2212181"/>
              <a:gd name="connsiteY6" fmla="*/ 328614 h 2197895"/>
              <a:gd name="connsiteX7" fmla="*/ 2212181 w 2212181"/>
              <a:gd name="connsiteY7" fmla="*/ 7145 h 2197895"/>
              <a:gd name="connsiteX8" fmla="*/ 1559719 w 2212181"/>
              <a:gd name="connsiteY8" fmla="*/ 0 h 2197895"/>
              <a:gd name="connsiteX9" fmla="*/ 1252537 w 2212181"/>
              <a:gd name="connsiteY9" fmla="*/ 1335882 h 2197895"/>
              <a:gd name="connsiteX10" fmla="*/ 945356 w 2212181"/>
              <a:gd name="connsiteY10" fmla="*/ 4763 h 2197895"/>
              <a:gd name="connsiteX11" fmla="*/ 283369 w 2212181"/>
              <a:gd name="connsiteY11" fmla="*/ 2381 h 2197895"/>
              <a:gd name="connsiteX12" fmla="*/ 0 w 2212181"/>
              <a:gd name="connsiteY12" fmla="*/ 2197894 h 2197895"/>
              <a:gd name="connsiteX0" fmla="*/ 0 w 2500312"/>
              <a:gd name="connsiteY0" fmla="*/ 2197894 h 2197895"/>
              <a:gd name="connsiteX1" fmla="*/ 611982 w 2500312"/>
              <a:gd name="connsiteY1" fmla="*/ 2197894 h 2197895"/>
              <a:gd name="connsiteX2" fmla="*/ 723900 w 2500312"/>
              <a:gd name="connsiteY2" fmla="*/ 802481 h 2197895"/>
              <a:gd name="connsiteX3" fmla="*/ 1007270 w 2500312"/>
              <a:gd name="connsiteY3" fmla="*/ 2195513 h 2197895"/>
              <a:gd name="connsiteX4" fmla="*/ 1488282 w 2500312"/>
              <a:gd name="connsiteY4" fmla="*/ 2197895 h 2197895"/>
              <a:gd name="connsiteX5" fmla="*/ 1781174 w 2500312"/>
              <a:gd name="connsiteY5" fmla="*/ 795338 h 2197895"/>
              <a:gd name="connsiteX6" fmla="*/ 2500312 w 2500312"/>
              <a:gd name="connsiteY6" fmla="*/ 2197895 h 2197895"/>
              <a:gd name="connsiteX7" fmla="*/ 2212181 w 2500312"/>
              <a:gd name="connsiteY7" fmla="*/ 7145 h 2197895"/>
              <a:gd name="connsiteX8" fmla="*/ 1559719 w 2500312"/>
              <a:gd name="connsiteY8" fmla="*/ 0 h 2197895"/>
              <a:gd name="connsiteX9" fmla="*/ 1252537 w 2500312"/>
              <a:gd name="connsiteY9" fmla="*/ 1335882 h 2197895"/>
              <a:gd name="connsiteX10" fmla="*/ 945356 w 2500312"/>
              <a:gd name="connsiteY10" fmla="*/ 4763 h 2197895"/>
              <a:gd name="connsiteX11" fmla="*/ 283369 w 2500312"/>
              <a:gd name="connsiteY11" fmla="*/ 2381 h 2197895"/>
              <a:gd name="connsiteX12" fmla="*/ 0 w 2500312"/>
              <a:gd name="connsiteY12" fmla="*/ 2197894 h 2197895"/>
              <a:gd name="connsiteX0" fmla="*/ 0 w 2500312"/>
              <a:gd name="connsiteY0" fmla="*/ 2197894 h 2197895"/>
              <a:gd name="connsiteX1" fmla="*/ 611982 w 2500312"/>
              <a:gd name="connsiteY1" fmla="*/ 2197894 h 2197895"/>
              <a:gd name="connsiteX2" fmla="*/ 723900 w 2500312"/>
              <a:gd name="connsiteY2" fmla="*/ 802481 h 2197895"/>
              <a:gd name="connsiteX3" fmla="*/ 1007270 w 2500312"/>
              <a:gd name="connsiteY3" fmla="*/ 2195513 h 2197895"/>
              <a:gd name="connsiteX4" fmla="*/ 1488282 w 2500312"/>
              <a:gd name="connsiteY4" fmla="*/ 2197895 h 2197895"/>
              <a:gd name="connsiteX5" fmla="*/ 1781174 w 2500312"/>
              <a:gd name="connsiteY5" fmla="*/ 795338 h 2197895"/>
              <a:gd name="connsiteX6" fmla="*/ 2190748 w 2500312"/>
              <a:gd name="connsiteY6" fmla="*/ 1595439 h 2197895"/>
              <a:gd name="connsiteX7" fmla="*/ 2500312 w 2500312"/>
              <a:gd name="connsiteY7" fmla="*/ 2197895 h 2197895"/>
              <a:gd name="connsiteX8" fmla="*/ 2212181 w 2500312"/>
              <a:gd name="connsiteY8" fmla="*/ 7145 h 2197895"/>
              <a:gd name="connsiteX9" fmla="*/ 1559719 w 2500312"/>
              <a:gd name="connsiteY9" fmla="*/ 0 h 2197895"/>
              <a:gd name="connsiteX10" fmla="*/ 1252537 w 2500312"/>
              <a:gd name="connsiteY10" fmla="*/ 1335882 h 2197895"/>
              <a:gd name="connsiteX11" fmla="*/ 945356 w 2500312"/>
              <a:gd name="connsiteY11" fmla="*/ 4763 h 2197895"/>
              <a:gd name="connsiteX12" fmla="*/ 283369 w 2500312"/>
              <a:gd name="connsiteY12" fmla="*/ 2381 h 2197895"/>
              <a:gd name="connsiteX13" fmla="*/ 0 w 2500312"/>
              <a:gd name="connsiteY13" fmla="*/ 2197894 h 2197895"/>
              <a:gd name="connsiteX0" fmla="*/ 0 w 2500312"/>
              <a:gd name="connsiteY0" fmla="*/ 2197894 h 2197895"/>
              <a:gd name="connsiteX1" fmla="*/ 611982 w 2500312"/>
              <a:gd name="connsiteY1" fmla="*/ 2197894 h 2197895"/>
              <a:gd name="connsiteX2" fmla="*/ 723900 w 2500312"/>
              <a:gd name="connsiteY2" fmla="*/ 802481 h 2197895"/>
              <a:gd name="connsiteX3" fmla="*/ 1007270 w 2500312"/>
              <a:gd name="connsiteY3" fmla="*/ 2195513 h 2197895"/>
              <a:gd name="connsiteX4" fmla="*/ 1488282 w 2500312"/>
              <a:gd name="connsiteY4" fmla="*/ 2197895 h 2197895"/>
              <a:gd name="connsiteX5" fmla="*/ 1781174 w 2500312"/>
              <a:gd name="connsiteY5" fmla="*/ 795338 h 2197895"/>
              <a:gd name="connsiteX6" fmla="*/ 1883567 w 2500312"/>
              <a:gd name="connsiteY6" fmla="*/ 2195514 h 2197895"/>
              <a:gd name="connsiteX7" fmla="*/ 2500312 w 2500312"/>
              <a:gd name="connsiteY7" fmla="*/ 2197895 h 2197895"/>
              <a:gd name="connsiteX8" fmla="*/ 2212181 w 2500312"/>
              <a:gd name="connsiteY8" fmla="*/ 7145 h 2197895"/>
              <a:gd name="connsiteX9" fmla="*/ 1559719 w 2500312"/>
              <a:gd name="connsiteY9" fmla="*/ 0 h 2197895"/>
              <a:gd name="connsiteX10" fmla="*/ 1252537 w 2500312"/>
              <a:gd name="connsiteY10" fmla="*/ 1335882 h 2197895"/>
              <a:gd name="connsiteX11" fmla="*/ 945356 w 2500312"/>
              <a:gd name="connsiteY11" fmla="*/ 4763 h 2197895"/>
              <a:gd name="connsiteX12" fmla="*/ 283369 w 2500312"/>
              <a:gd name="connsiteY12" fmla="*/ 2381 h 2197895"/>
              <a:gd name="connsiteX13" fmla="*/ 0 w 2500312"/>
              <a:gd name="connsiteY13" fmla="*/ 2197894 h 2197895"/>
              <a:gd name="connsiteX0" fmla="*/ 0 w 2500312"/>
              <a:gd name="connsiteY0" fmla="*/ 2197894 h 2197895"/>
              <a:gd name="connsiteX1" fmla="*/ 611982 w 2500312"/>
              <a:gd name="connsiteY1" fmla="*/ 2197894 h 2197895"/>
              <a:gd name="connsiteX2" fmla="*/ 723900 w 2500312"/>
              <a:gd name="connsiteY2" fmla="*/ 802481 h 2197895"/>
              <a:gd name="connsiteX3" fmla="*/ 1007270 w 2500312"/>
              <a:gd name="connsiteY3" fmla="*/ 2195513 h 2197895"/>
              <a:gd name="connsiteX4" fmla="*/ 1488282 w 2500312"/>
              <a:gd name="connsiteY4" fmla="*/ 2197895 h 2197895"/>
              <a:gd name="connsiteX5" fmla="*/ 1776411 w 2500312"/>
              <a:gd name="connsiteY5" fmla="*/ 809626 h 2197895"/>
              <a:gd name="connsiteX6" fmla="*/ 1883567 w 2500312"/>
              <a:gd name="connsiteY6" fmla="*/ 2195514 h 2197895"/>
              <a:gd name="connsiteX7" fmla="*/ 2500312 w 2500312"/>
              <a:gd name="connsiteY7" fmla="*/ 2197895 h 2197895"/>
              <a:gd name="connsiteX8" fmla="*/ 2212181 w 2500312"/>
              <a:gd name="connsiteY8" fmla="*/ 7145 h 2197895"/>
              <a:gd name="connsiteX9" fmla="*/ 1559719 w 2500312"/>
              <a:gd name="connsiteY9" fmla="*/ 0 h 2197895"/>
              <a:gd name="connsiteX10" fmla="*/ 1252537 w 2500312"/>
              <a:gd name="connsiteY10" fmla="*/ 1335882 h 2197895"/>
              <a:gd name="connsiteX11" fmla="*/ 945356 w 2500312"/>
              <a:gd name="connsiteY11" fmla="*/ 4763 h 2197895"/>
              <a:gd name="connsiteX12" fmla="*/ 283369 w 2500312"/>
              <a:gd name="connsiteY12" fmla="*/ 2381 h 2197895"/>
              <a:gd name="connsiteX13" fmla="*/ 0 w 2500312"/>
              <a:gd name="connsiteY13" fmla="*/ 2197894 h 2197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500312" h="2197895">
                <a:moveTo>
                  <a:pt x="0" y="2197894"/>
                </a:moveTo>
                <a:lnTo>
                  <a:pt x="611982" y="2197894"/>
                </a:lnTo>
                <a:lnTo>
                  <a:pt x="723900" y="802481"/>
                </a:lnTo>
                <a:lnTo>
                  <a:pt x="1007270" y="2195513"/>
                </a:lnTo>
                <a:lnTo>
                  <a:pt x="1488282" y="2197895"/>
                </a:lnTo>
                <a:lnTo>
                  <a:pt x="1776411" y="809626"/>
                </a:lnTo>
                <a:lnTo>
                  <a:pt x="1883567" y="2195514"/>
                </a:lnTo>
                <a:lnTo>
                  <a:pt x="2500312" y="2197895"/>
                </a:lnTo>
                <a:lnTo>
                  <a:pt x="2212181" y="7145"/>
                </a:lnTo>
                <a:lnTo>
                  <a:pt x="1559719" y="0"/>
                </a:lnTo>
                <a:lnTo>
                  <a:pt x="1252537" y="1335882"/>
                </a:lnTo>
                <a:lnTo>
                  <a:pt x="945356" y="4763"/>
                </a:lnTo>
                <a:lnTo>
                  <a:pt x="283369" y="2381"/>
                </a:lnTo>
                <a:lnTo>
                  <a:pt x="0" y="2197894"/>
                </a:lnTo>
                <a:close/>
              </a:path>
            </a:pathLst>
          </a:custGeom>
          <a:solidFill>
            <a:srgbClr val="0F238D"/>
          </a:solidFill>
          <a:ln w="190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sp>
        <p:nvSpPr>
          <p:cNvPr id="40" name="Freeform 39"/>
          <p:cNvSpPr/>
          <p:nvPr userDrawn="1"/>
        </p:nvSpPr>
        <p:spPr>
          <a:xfrm>
            <a:off x="8887233" y="164981"/>
            <a:ext cx="116972" cy="182397"/>
          </a:xfrm>
          <a:custGeom>
            <a:avLst/>
            <a:gdLst>
              <a:gd name="connsiteX0" fmla="*/ 0 w 1428750"/>
              <a:gd name="connsiteY0" fmla="*/ 997744 h 997744"/>
              <a:gd name="connsiteX1" fmla="*/ 1404937 w 1428750"/>
              <a:gd name="connsiteY1" fmla="*/ 997744 h 997744"/>
              <a:gd name="connsiteX2" fmla="*/ 1404937 w 1428750"/>
              <a:gd name="connsiteY2" fmla="*/ 538163 h 997744"/>
              <a:gd name="connsiteX3" fmla="*/ 1428750 w 1428750"/>
              <a:gd name="connsiteY3" fmla="*/ 540544 h 997744"/>
              <a:gd name="connsiteX4" fmla="*/ 590550 w 1428750"/>
              <a:gd name="connsiteY4" fmla="*/ 540544 h 997744"/>
              <a:gd name="connsiteX5" fmla="*/ 590550 w 1428750"/>
              <a:gd name="connsiteY5" fmla="*/ 0 h 997744"/>
              <a:gd name="connsiteX6" fmla="*/ 0 w 1428750"/>
              <a:gd name="connsiteY6" fmla="*/ 0 h 997744"/>
              <a:gd name="connsiteX7" fmla="*/ 0 w 1428750"/>
              <a:gd name="connsiteY7" fmla="*/ 997744 h 997744"/>
              <a:gd name="connsiteX0" fmla="*/ 0 w 1404937"/>
              <a:gd name="connsiteY0" fmla="*/ 997744 h 997744"/>
              <a:gd name="connsiteX1" fmla="*/ 1404937 w 1404937"/>
              <a:gd name="connsiteY1" fmla="*/ 997744 h 997744"/>
              <a:gd name="connsiteX2" fmla="*/ 1404937 w 1404937"/>
              <a:gd name="connsiteY2" fmla="*/ 538163 h 997744"/>
              <a:gd name="connsiteX3" fmla="*/ 1219200 w 1404937"/>
              <a:gd name="connsiteY3" fmla="*/ 476250 h 997744"/>
              <a:gd name="connsiteX4" fmla="*/ 590550 w 1404937"/>
              <a:gd name="connsiteY4" fmla="*/ 540544 h 997744"/>
              <a:gd name="connsiteX5" fmla="*/ 590550 w 1404937"/>
              <a:gd name="connsiteY5" fmla="*/ 0 h 997744"/>
              <a:gd name="connsiteX6" fmla="*/ 0 w 1404937"/>
              <a:gd name="connsiteY6" fmla="*/ 0 h 997744"/>
              <a:gd name="connsiteX7" fmla="*/ 0 w 1404937"/>
              <a:gd name="connsiteY7" fmla="*/ 997744 h 997744"/>
              <a:gd name="connsiteX0" fmla="*/ 0 w 1404937"/>
              <a:gd name="connsiteY0" fmla="*/ 997744 h 997744"/>
              <a:gd name="connsiteX1" fmla="*/ 1404937 w 1404937"/>
              <a:gd name="connsiteY1" fmla="*/ 997744 h 997744"/>
              <a:gd name="connsiteX2" fmla="*/ 1404937 w 1404937"/>
              <a:gd name="connsiteY2" fmla="*/ 538163 h 997744"/>
              <a:gd name="connsiteX3" fmla="*/ 590550 w 1404937"/>
              <a:gd name="connsiteY3" fmla="*/ 540544 h 997744"/>
              <a:gd name="connsiteX4" fmla="*/ 590550 w 1404937"/>
              <a:gd name="connsiteY4" fmla="*/ 0 h 997744"/>
              <a:gd name="connsiteX5" fmla="*/ 0 w 1404937"/>
              <a:gd name="connsiteY5" fmla="*/ 0 h 997744"/>
              <a:gd name="connsiteX6" fmla="*/ 0 w 1404937"/>
              <a:gd name="connsiteY6" fmla="*/ 997744 h 997744"/>
              <a:gd name="connsiteX0" fmla="*/ 0 w 1404937"/>
              <a:gd name="connsiteY0" fmla="*/ 1614488 h 1614488"/>
              <a:gd name="connsiteX1" fmla="*/ 1404937 w 1404937"/>
              <a:gd name="connsiteY1" fmla="*/ 1614488 h 1614488"/>
              <a:gd name="connsiteX2" fmla="*/ 1404937 w 1404937"/>
              <a:gd name="connsiteY2" fmla="*/ 1154907 h 1614488"/>
              <a:gd name="connsiteX3" fmla="*/ 590550 w 1404937"/>
              <a:gd name="connsiteY3" fmla="*/ 1157288 h 1614488"/>
              <a:gd name="connsiteX4" fmla="*/ 592931 w 1404937"/>
              <a:gd name="connsiteY4" fmla="*/ 0 h 1614488"/>
              <a:gd name="connsiteX5" fmla="*/ 0 w 1404937"/>
              <a:gd name="connsiteY5" fmla="*/ 616744 h 1614488"/>
              <a:gd name="connsiteX6" fmla="*/ 0 w 1404937"/>
              <a:gd name="connsiteY6" fmla="*/ 1614488 h 1614488"/>
              <a:gd name="connsiteX0" fmla="*/ 0 w 1404937"/>
              <a:gd name="connsiteY0" fmla="*/ 2188369 h 2188369"/>
              <a:gd name="connsiteX1" fmla="*/ 1404937 w 1404937"/>
              <a:gd name="connsiteY1" fmla="*/ 2188369 h 2188369"/>
              <a:gd name="connsiteX2" fmla="*/ 1404937 w 1404937"/>
              <a:gd name="connsiteY2" fmla="*/ 1728788 h 2188369"/>
              <a:gd name="connsiteX3" fmla="*/ 590550 w 1404937"/>
              <a:gd name="connsiteY3" fmla="*/ 1731169 h 2188369"/>
              <a:gd name="connsiteX4" fmla="*/ 592931 w 1404937"/>
              <a:gd name="connsiteY4" fmla="*/ 573881 h 2188369"/>
              <a:gd name="connsiteX5" fmla="*/ 2382 w 1404937"/>
              <a:gd name="connsiteY5" fmla="*/ 0 h 2188369"/>
              <a:gd name="connsiteX6" fmla="*/ 0 w 1404937"/>
              <a:gd name="connsiteY6" fmla="*/ 2188369 h 2188369"/>
              <a:gd name="connsiteX0" fmla="*/ 0 w 1404937"/>
              <a:gd name="connsiteY0" fmla="*/ 2190750 h 2190750"/>
              <a:gd name="connsiteX1" fmla="*/ 1404937 w 1404937"/>
              <a:gd name="connsiteY1" fmla="*/ 2190750 h 2190750"/>
              <a:gd name="connsiteX2" fmla="*/ 1404937 w 1404937"/>
              <a:gd name="connsiteY2" fmla="*/ 1731169 h 2190750"/>
              <a:gd name="connsiteX3" fmla="*/ 590550 w 1404937"/>
              <a:gd name="connsiteY3" fmla="*/ 1733550 h 2190750"/>
              <a:gd name="connsiteX4" fmla="*/ 592931 w 1404937"/>
              <a:gd name="connsiteY4" fmla="*/ 0 h 2190750"/>
              <a:gd name="connsiteX5" fmla="*/ 2382 w 1404937"/>
              <a:gd name="connsiteY5" fmla="*/ 2381 h 2190750"/>
              <a:gd name="connsiteX6" fmla="*/ 0 w 1404937"/>
              <a:gd name="connsiteY6" fmla="*/ 2190750 h 2190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04937" h="2190750">
                <a:moveTo>
                  <a:pt x="0" y="2190750"/>
                </a:moveTo>
                <a:lnTo>
                  <a:pt x="1404937" y="2190750"/>
                </a:lnTo>
                <a:lnTo>
                  <a:pt x="1404937" y="1731169"/>
                </a:lnTo>
                <a:lnTo>
                  <a:pt x="590550" y="1733550"/>
                </a:lnTo>
                <a:cubicBezTo>
                  <a:pt x="591344" y="1347787"/>
                  <a:pt x="592137" y="385763"/>
                  <a:pt x="592931" y="0"/>
                </a:cubicBezTo>
                <a:lnTo>
                  <a:pt x="2382" y="2381"/>
                </a:lnTo>
                <a:cubicBezTo>
                  <a:pt x="3969" y="334962"/>
                  <a:pt x="3175" y="1858169"/>
                  <a:pt x="0" y="2190750"/>
                </a:cubicBezTo>
                <a:close/>
              </a:path>
            </a:pathLst>
          </a:custGeom>
          <a:solidFill>
            <a:srgbClr val="0F238D"/>
          </a:solidFill>
          <a:ln w="190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sp>
        <p:nvSpPr>
          <p:cNvPr id="41" name="Freeform 40"/>
          <p:cNvSpPr/>
          <p:nvPr userDrawn="1"/>
        </p:nvSpPr>
        <p:spPr>
          <a:xfrm>
            <a:off x="8502102" y="201462"/>
            <a:ext cx="135419" cy="149888"/>
          </a:xfrm>
          <a:custGeom>
            <a:avLst/>
            <a:gdLst>
              <a:gd name="connsiteX0" fmla="*/ 0 w 483394"/>
              <a:gd name="connsiteY0" fmla="*/ 0 h 645319"/>
              <a:gd name="connsiteX1" fmla="*/ 0 w 483394"/>
              <a:gd name="connsiteY1" fmla="*/ 528638 h 645319"/>
              <a:gd name="connsiteX2" fmla="*/ 33338 w 483394"/>
              <a:gd name="connsiteY2" fmla="*/ 528638 h 645319"/>
              <a:gd name="connsiteX3" fmla="*/ 381000 w 483394"/>
              <a:gd name="connsiteY3" fmla="*/ 645319 h 645319"/>
              <a:gd name="connsiteX4" fmla="*/ 483394 w 483394"/>
              <a:gd name="connsiteY4" fmla="*/ 216694 h 645319"/>
              <a:gd name="connsiteX5" fmla="*/ 0 w 483394"/>
              <a:gd name="connsiteY5" fmla="*/ 0 h 645319"/>
              <a:gd name="connsiteX0" fmla="*/ 0 w 1626394"/>
              <a:gd name="connsiteY0" fmla="*/ 0 h 528638"/>
              <a:gd name="connsiteX1" fmla="*/ 0 w 1626394"/>
              <a:gd name="connsiteY1" fmla="*/ 528638 h 528638"/>
              <a:gd name="connsiteX2" fmla="*/ 33338 w 1626394"/>
              <a:gd name="connsiteY2" fmla="*/ 528638 h 528638"/>
              <a:gd name="connsiteX3" fmla="*/ 1626394 w 1626394"/>
              <a:gd name="connsiteY3" fmla="*/ 7144 h 528638"/>
              <a:gd name="connsiteX4" fmla="*/ 483394 w 1626394"/>
              <a:gd name="connsiteY4" fmla="*/ 216694 h 528638"/>
              <a:gd name="connsiteX5" fmla="*/ 0 w 1626394"/>
              <a:gd name="connsiteY5" fmla="*/ 0 h 528638"/>
              <a:gd name="connsiteX0" fmla="*/ 0 w 1626394"/>
              <a:gd name="connsiteY0" fmla="*/ 0 h 528638"/>
              <a:gd name="connsiteX1" fmla="*/ 0 w 1626394"/>
              <a:gd name="connsiteY1" fmla="*/ 528638 h 528638"/>
              <a:gd name="connsiteX2" fmla="*/ 33338 w 1626394"/>
              <a:gd name="connsiteY2" fmla="*/ 528638 h 528638"/>
              <a:gd name="connsiteX3" fmla="*/ 1626394 w 1626394"/>
              <a:gd name="connsiteY3" fmla="*/ 7144 h 528638"/>
              <a:gd name="connsiteX4" fmla="*/ 483394 w 1626394"/>
              <a:gd name="connsiteY4" fmla="*/ 216694 h 528638"/>
              <a:gd name="connsiteX5" fmla="*/ 0 w 1626394"/>
              <a:gd name="connsiteY5" fmla="*/ 0 h 528638"/>
              <a:gd name="connsiteX0" fmla="*/ 0 w 1626394"/>
              <a:gd name="connsiteY0" fmla="*/ 0 h 714375"/>
              <a:gd name="connsiteX1" fmla="*/ 0 w 1626394"/>
              <a:gd name="connsiteY1" fmla="*/ 528638 h 714375"/>
              <a:gd name="connsiteX2" fmla="*/ 354807 w 1626394"/>
              <a:gd name="connsiteY2" fmla="*/ 714375 h 714375"/>
              <a:gd name="connsiteX3" fmla="*/ 1626394 w 1626394"/>
              <a:gd name="connsiteY3" fmla="*/ 7144 h 714375"/>
              <a:gd name="connsiteX4" fmla="*/ 483394 w 1626394"/>
              <a:gd name="connsiteY4" fmla="*/ 216694 h 714375"/>
              <a:gd name="connsiteX5" fmla="*/ 0 w 1626394"/>
              <a:gd name="connsiteY5" fmla="*/ 0 h 714375"/>
              <a:gd name="connsiteX0" fmla="*/ 0 w 1626394"/>
              <a:gd name="connsiteY0" fmla="*/ 0 h 528638"/>
              <a:gd name="connsiteX1" fmla="*/ 0 w 1626394"/>
              <a:gd name="connsiteY1" fmla="*/ 528638 h 528638"/>
              <a:gd name="connsiteX2" fmla="*/ 1626394 w 1626394"/>
              <a:gd name="connsiteY2" fmla="*/ 7144 h 528638"/>
              <a:gd name="connsiteX3" fmla="*/ 483394 w 1626394"/>
              <a:gd name="connsiteY3" fmla="*/ 216694 h 528638"/>
              <a:gd name="connsiteX4" fmla="*/ 0 w 1626394"/>
              <a:gd name="connsiteY4" fmla="*/ 0 h 528638"/>
              <a:gd name="connsiteX0" fmla="*/ 0 w 1626394"/>
              <a:gd name="connsiteY0" fmla="*/ 0 h 528638"/>
              <a:gd name="connsiteX1" fmla="*/ 0 w 1626394"/>
              <a:gd name="connsiteY1" fmla="*/ 528638 h 528638"/>
              <a:gd name="connsiteX2" fmla="*/ 1626394 w 1626394"/>
              <a:gd name="connsiteY2" fmla="*/ 7144 h 528638"/>
              <a:gd name="connsiteX3" fmla="*/ 483394 w 1626394"/>
              <a:gd name="connsiteY3" fmla="*/ 216694 h 528638"/>
              <a:gd name="connsiteX4" fmla="*/ 0 w 1626394"/>
              <a:gd name="connsiteY4" fmla="*/ 0 h 528638"/>
              <a:gd name="connsiteX0" fmla="*/ 0 w 1626394"/>
              <a:gd name="connsiteY0" fmla="*/ 0 h 681404"/>
              <a:gd name="connsiteX1" fmla="*/ 0 w 1626394"/>
              <a:gd name="connsiteY1" fmla="*/ 528638 h 681404"/>
              <a:gd name="connsiteX2" fmla="*/ 1626394 w 1626394"/>
              <a:gd name="connsiteY2" fmla="*/ 7144 h 681404"/>
              <a:gd name="connsiteX3" fmla="*/ 483394 w 1626394"/>
              <a:gd name="connsiteY3" fmla="*/ 216694 h 681404"/>
              <a:gd name="connsiteX4" fmla="*/ 0 w 1626394"/>
              <a:gd name="connsiteY4" fmla="*/ 0 h 681404"/>
              <a:gd name="connsiteX0" fmla="*/ 0 w 1626394"/>
              <a:gd name="connsiteY0" fmla="*/ 0 h 661055"/>
              <a:gd name="connsiteX1" fmla="*/ 0 w 1626394"/>
              <a:gd name="connsiteY1" fmla="*/ 528638 h 661055"/>
              <a:gd name="connsiteX2" fmla="*/ 1626394 w 1626394"/>
              <a:gd name="connsiteY2" fmla="*/ 7144 h 661055"/>
              <a:gd name="connsiteX3" fmla="*/ 483394 w 1626394"/>
              <a:gd name="connsiteY3" fmla="*/ 216694 h 661055"/>
              <a:gd name="connsiteX4" fmla="*/ 0 w 1626394"/>
              <a:gd name="connsiteY4" fmla="*/ 0 h 661055"/>
              <a:gd name="connsiteX0" fmla="*/ 0 w 1626394"/>
              <a:gd name="connsiteY0" fmla="*/ 0 h 678971"/>
              <a:gd name="connsiteX1" fmla="*/ 0 w 1626394"/>
              <a:gd name="connsiteY1" fmla="*/ 528638 h 678971"/>
              <a:gd name="connsiteX2" fmla="*/ 1626394 w 1626394"/>
              <a:gd name="connsiteY2" fmla="*/ 7144 h 678971"/>
              <a:gd name="connsiteX3" fmla="*/ 483394 w 1626394"/>
              <a:gd name="connsiteY3" fmla="*/ 216694 h 678971"/>
              <a:gd name="connsiteX4" fmla="*/ 0 w 1626394"/>
              <a:gd name="connsiteY4" fmla="*/ 0 h 678971"/>
              <a:gd name="connsiteX0" fmla="*/ 0 w 1626394"/>
              <a:gd name="connsiteY0" fmla="*/ 0 h 678971"/>
              <a:gd name="connsiteX1" fmla="*/ 0 w 1626394"/>
              <a:gd name="connsiteY1" fmla="*/ 528638 h 678971"/>
              <a:gd name="connsiteX2" fmla="*/ 1626394 w 1626394"/>
              <a:gd name="connsiteY2" fmla="*/ 7144 h 678971"/>
              <a:gd name="connsiteX3" fmla="*/ 621506 w 1626394"/>
              <a:gd name="connsiteY3" fmla="*/ 233363 h 678971"/>
              <a:gd name="connsiteX4" fmla="*/ 0 w 1626394"/>
              <a:gd name="connsiteY4" fmla="*/ 0 h 678971"/>
              <a:gd name="connsiteX0" fmla="*/ 0 w 1626394"/>
              <a:gd name="connsiteY0" fmla="*/ 4860 h 683831"/>
              <a:gd name="connsiteX1" fmla="*/ 0 w 1626394"/>
              <a:gd name="connsiteY1" fmla="*/ 533498 h 683831"/>
              <a:gd name="connsiteX2" fmla="*/ 1626394 w 1626394"/>
              <a:gd name="connsiteY2" fmla="*/ 12004 h 683831"/>
              <a:gd name="connsiteX3" fmla="*/ 621506 w 1626394"/>
              <a:gd name="connsiteY3" fmla="*/ 238223 h 683831"/>
              <a:gd name="connsiteX4" fmla="*/ 0 w 1626394"/>
              <a:gd name="connsiteY4" fmla="*/ 4860 h 683831"/>
              <a:gd name="connsiteX0" fmla="*/ 0 w 1626394"/>
              <a:gd name="connsiteY0" fmla="*/ 4860 h 683831"/>
              <a:gd name="connsiteX1" fmla="*/ 0 w 1626394"/>
              <a:gd name="connsiteY1" fmla="*/ 533498 h 683831"/>
              <a:gd name="connsiteX2" fmla="*/ 1626394 w 1626394"/>
              <a:gd name="connsiteY2" fmla="*/ 12004 h 683831"/>
              <a:gd name="connsiteX3" fmla="*/ 1066800 w 1626394"/>
              <a:gd name="connsiteY3" fmla="*/ 135830 h 683831"/>
              <a:gd name="connsiteX4" fmla="*/ 621506 w 1626394"/>
              <a:gd name="connsiteY4" fmla="*/ 238223 h 683831"/>
              <a:gd name="connsiteX5" fmla="*/ 0 w 1626394"/>
              <a:gd name="connsiteY5" fmla="*/ 4860 h 683831"/>
              <a:gd name="connsiteX0" fmla="*/ 0 w 1626394"/>
              <a:gd name="connsiteY0" fmla="*/ 111917 h 790888"/>
              <a:gd name="connsiteX1" fmla="*/ 0 w 1626394"/>
              <a:gd name="connsiteY1" fmla="*/ 640555 h 790888"/>
              <a:gd name="connsiteX2" fmla="*/ 1626394 w 1626394"/>
              <a:gd name="connsiteY2" fmla="*/ 119061 h 790888"/>
              <a:gd name="connsiteX3" fmla="*/ 923925 w 1626394"/>
              <a:gd name="connsiteY3" fmla="*/ 0 h 790888"/>
              <a:gd name="connsiteX4" fmla="*/ 621506 w 1626394"/>
              <a:gd name="connsiteY4" fmla="*/ 345280 h 790888"/>
              <a:gd name="connsiteX5" fmla="*/ 0 w 1626394"/>
              <a:gd name="connsiteY5" fmla="*/ 111917 h 790888"/>
              <a:gd name="connsiteX0" fmla="*/ 0 w 1626394"/>
              <a:gd name="connsiteY0" fmla="*/ 111917 h 790888"/>
              <a:gd name="connsiteX1" fmla="*/ 0 w 1626394"/>
              <a:gd name="connsiteY1" fmla="*/ 640555 h 790888"/>
              <a:gd name="connsiteX2" fmla="*/ 1626394 w 1626394"/>
              <a:gd name="connsiteY2" fmla="*/ 119061 h 790888"/>
              <a:gd name="connsiteX3" fmla="*/ 1059656 w 1626394"/>
              <a:gd name="connsiteY3" fmla="*/ 23812 h 790888"/>
              <a:gd name="connsiteX4" fmla="*/ 923925 w 1626394"/>
              <a:gd name="connsiteY4" fmla="*/ 0 h 790888"/>
              <a:gd name="connsiteX5" fmla="*/ 621506 w 1626394"/>
              <a:gd name="connsiteY5" fmla="*/ 345280 h 790888"/>
              <a:gd name="connsiteX6" fmla="*/ 0 w 1626394"/>
              <a:gd name="connsiteY6" fmla="*/ 111917 h 790888"/>
              <a:gd name="connsiteX0" fmla="*/ 0 w 1626394"/>
              <a:gd name="connsiteY0" fmla="*/ 538161 h 1217132"/>
              <a:gd name="connsiteX1" fmla="*/ 0 w 1626394"/>
              <a:gd name="connsiteY1" fmla="*/ 1066799 h 1217132"/>
              <a:gd name="connsiteX2" fmla="*/ 1626394 w 1626394"/>
              <a:gd name="connsiteY2" fmla="*/ 545305 h 1217132"/>
              <a:gd name="connsiteX3" fmla="*/ 1323974 w 1626394"/>
              <a:gd name="connsiteY3" fmla="*/ 0 h 1217132"/>
              <a:gd name="connsiteX4" fmla="*/ 923925 w 1626394"/>
              <a:gd name="connsiteY4" fmla="*/ 426244 h 1217132"/>
              <a:gd name="connsiteX5" fmla="*/ 621506 w 1626394"/>
              <a:gd name="connsiteY5" fmla="*/ 771524 h 1217132"/>
              <a:gd name="connsiteX6" fmla="*/ 0 w 1626394"/>
              <a:gd name="connsiteY6" fmla="*/ 538161 h 1217132"/>
              <a:gd name="connsiteX0" fmla="*/ 0 w 1626394"/>
              <a:gd name="connsiteY0" fmla="*/ 538161 h 1217132"/>
              <a:gd name="connsiteX1" fmla="*/ 0 w 1626394"/>
              <a:gd name="connsiteY1" fmla="*/ 1066799 h 1217132"/>
              <a:gd name="connsiteX2" fmla="*/ 1626394 w 1626394"/>
              <a:gd name="connsiteY2" fmla="*/ 545305 h 1217132"/>
              <a:gd name="connsiteX3" fmla="*/ 1323974 w 1626394"/>
              <a:gd name="connsiteY3" fmla="*/ 0 h 1217132"/>
              <a:gd name="connsiteX4" fmla="*/ 923925 w 1626394"/>
              <a:gd name="connsiteY4" fmla="*/ 426244 h 1217132"/>
              <a:gd name="connsiteX5" fmla="*/ 621506 w 1626394"/>
              <a:gd name="connsiteY5" fmla="*/ 771524 h 1217132"/>
              <a:gd name="connsiteX6" fmla="*/ 0 w 1626394"/>
              <a:gd name="connsiteY6" fmla="*/ 538161 h 1217132"/>
              <a:gd name="connsiteX0" fmla="*/ 0 w 1635310"/>
              <a:gd name="connsiteY0" fmla="*/ 538161 h 1066802"/>
              <a:gd name="connsiteX1" fmla="*/ 0 w 1635310"/>
              <a:gd name="connsiteY1" fmla="*/ 1066799 h 1066802"/>
              <a:gd name="connsiteX2" fmla="*/ 1626394 w 1635310"/>
              <a:gd name="connsiteY2" fmla="*/ 545305 h 1066802"/>
              <a:gd name="connsiteX3" fmla="*/ 1323974 w 1635310"/>
              <a:gd name="connsiteY3" fmla="*/ 0 h 1066802"/>
              <a:gd name="connsiteX4" fmla="*/ 923925 w 1635310"/>
              <a:gd name="connsiteY4" fmla="*/ 426244 h 1066802"/>
              <a:gd name="connsiteX5" fmla="*/ 621506 w 1635310"/>
              <a:gd name="connsiteY5" fmla="*/ 771524 h 1066802"/>
              <a:gd name="connsiteX6" fmla="*/ 0 w 1635310"/>
              <a:gd name="connsiteY6" fmla="*/ 538161 h 1066802"/>
              <a:gd name="connsiteX0" fmla="*/ 0 w 1632620"/>
              <a:gd name="connsiteY0" fmla="*/ 538161 h 1083110"/>
              <a:gd name="connsiteX1" fmla="*/ 0 w 1632620"/>
              <a:gd name="connsiteY1" fmla="*/ 1066799 h 1083110"/>
              <a:gd name="connsiteX2" fmla="*/ 1626394 w 1632620"/>
              <a:gd name="connsiteY2" fmla="*/ 545305 h 1083110"/>
              <a:gd name="connsiteX3" fmla="*/ 1323974 w 1632620"/>
              <a:gd name="connsiteY3" fmla="*/ 0 h 1083110"/>
              <a:gd name="connsiteX4" fmla="*/ 923925 w 1632620"/>
              <a:gd name="connsiteY4" fmla="*/ 426244 h 1083110"/>
              <a:gd name="connsiteX5" fmla="*/ 621506 w 1632620"/>
              <a:gd name="connsiteY5" fmla="*/ 771524 h 1083110"/>
              <a:gd name="connsiteX6" fmla="*/ 0 w 1632620"/>
              <a:gd name="connsiteY6" fmla="*/ 538161 h 1083110"/>
              <a:gd name="connsiteX0" fmla="*/ 0 w 1638832"/>
              <a:gd name="connsiteY0" fmla="*/ 538161 h 1079262"/>
              <a:gd name="connsiteX1" fmla="*/ 0 w 1638832"/>
              <a:gd name="connsiteY1" fmla="*/ 1066799 h 1079262"/>
              <a:gd name="connsiteX2" fmla="*/ 1626394 w 1638832"/>
              <a:gd name="connsiteY2" fmla="*/ 545305 h 1079262"/>
              <a:gd name="connsiteX3" fmla="*/ 1323974 w 1638832"/>
              <a:gd name="connsiteY3" fmla="*/ 0 h 1079262"/>
              <a:gd name="connsiteX4" fmla="*/ 923925 w 1638832"/>
              <a:gd name="connsiteY4" fmla="*/ 426244 h 1079262"/>
              <a:gd name="connsiteX5" fmla="*/ 621506 w 1638832"/>
              <a:gd name="connsiteY5" fmla="*/ 771524 h 1079262"/>
              <a:gd name="connsiteX6" fmla="*/ 0 w 1638832"/>
              <a:gd name="connsiteY6" fmla="*/ 538161 h 1079262"/>
              <a:gd name="connsiteX0" fmla="*/ 0 w 1629379"/>
              <a:gd name="connsiteY0" fmla="*/ 538161 h 1066897"/>
              <a:gd name="connsiteX1" fmla="*/ 0 w 1629379"/>
              <a:gd name="connsiteY1" fmla="*/ 1066799 h 1066897"/>
              <a:gd name="connsiteX2" fmla="*/ 1616869 w 1629379"/>
              <a:gd name="connsiteY2" fmla="*/ 409574 h 1066897"/>
              <a:gd name="connsiteX3" fmla="*/ 1323974 w 1629379"/>
              <a:gd name="connsiteY3" fmla="*/ 0 h 1066897"/>
              <a:gd name="connsiteX4" fmla="*/ 923925 w 1629379"/>
              <a:gd name="connsiteY4" fmla="*/ 426244 h 1066897"/>
              <a:gd name="connsiteX5" fmla="*/ 621506 w 1629379"/>
              <a:gd name="connsiteY5" fmla="*/ 771524 h 1066897"/>
              <a:gd name="connsiteX6" fmla="*/ 0 w 1629379"/>
              <a:gd name="connsiteY6" fmla="*/ 538161 h 1066897"/>
              <a:gd name="connsiteX0" fmla="*/ 0 w 1620913"/>
              <a:gd name="connsiteY0" fmla="*/ 538161 h 1107877"/>
              <a:gd name="connsiteX1" fmla="*/ 0 w 1620913"/>
              <a:gd name="connsiteY1" fmla="*/ 1066799 h 1107877"/>
              <a:gd name="connsiteX2" fmla="*/ 1616869 w 1620913"/>
              <a:gd name="connsiteY2" fmla="*/ 409574 h 1107877"/>
              <a:gd name="connsiteX3" fmla="*/ 1323974 w 1620913"/>
              <a:gd name="connsiteY3" fmla="*/ 0 h 1107877"/>
              <a:gd name="connsiteX4" fmla="*/ 923925 w 1620913"/>
              <a:gd name="connsiteY4" fmla="*/ 426244 h 1107877"/>
              <a:gd name="connsiteX5" fmla="*/ 621506 w 1620913"/>
              <a:gd name="connsiteY5" fmla="*/ 771524 h 1107877"/>
              <a:gd name="connsiteX6" fmla="*/ 0 w 1620913"/>
              <a:gd name="connsiteY6" fmla="*/ 538161 h 1107877"/>
              <a:gd name="connsiteX0" fmla="*/ 0 w 1620913"/>
              <a:gd name="connsiteY0" fmla="*/ 538161 h 1218265"/>
              <a:gd name="connsiteX1" fmla="*/ 0 w 1620913"/>
              <a:gd name="connsiteY1" fmla="*/ 1066799 h 1218265"/>
              <a:gd name="connsiteX2" fmla="*/ 1616869 w 1620913"/>
              <a:gd name="connsiteY2" fmla="*/ 409574 h 1218265"/>
              <a:gd name="connsiteX3" fmla="*/ 1323974 w 1620913"/>
              <a:gd name="connsiteY3" fmla="*/ 0 h 1218265"/>
              <a:gd name="connsiteX4" fmla="*/ 923925 w 1620913"/>
              <a:gd name="connsiteY4" fmla="*/ 426244 h 1218265"/>
              <a:gd name="connsiteX5" fmla="*/ 621506 w 1620913"/>
              <a:gd name="connsiteY5" fmla="*/ 771524 h 1218265"/>
              <a:gd name="connsiteX6" fmla="*/ 0 w 1620913"/>
              <a:gd name="connsiteY6" fmla="*/ 538161 h 1218265"/>
              <a:gd name="connsiteX0" fmla="*/ 0 w 1620913"/>
              <a:gd name="connsiteY0" fmla="*/ 538161 h 1066799"/>
              <a:gd name="connsiteX1" fmla="*/ 0 w 1620913"/>
              <a:gd name="connsiteY1" fmla="*/ 1066799 h 1066799"/>
              <a:gd name="connsiteX2" fmla="*/ 1616869 w 1620913"/>
              <a:gd name="connsiteY2" fmla="*/ 409574 h 1066799"/>
              <a:gd name="connsiteX3" fmla="*/ 1323974 w 1620913"/>
              <a:gd name="connsiteY3" fmla="*/ 0 h 1066799"/>
              <a:gd name="connsiteX4" fmla="*/ 923925 w 1620913"/>
              <a:gd name="connsiteY4" fmla="*/ 426244 h 1066799"/>
              <a:gd name="connsiteX5" fmla="*/ 621506 w 1620913"/>
              <a:gd name="connsiteY5" fmla="*/ 771524 h 1066799"/>
              <a:gd name="connsiteX6" fmla="*/ 0 w 1620913"/>
              <a:gd name="connsiteY6" fmla="*/ 538161 h 1066799"/>
              <a:gd name="connsiteX0" fmla="*/ 0 w 1620913"/>
              <a:gd name="connsiteY0" fmla="*/ 538161 h 1213299"/>
              <a:gd name="connsiteX1" fmla="*/ 0 w 1620913"/>
              <a:gd name="connsiteY1" fmla="*/ 1066799 h 1213299"/>
              <a:gd name="connsiteX2" fmla="*/ 1616869 w 1620913"/>
              <a:gd name="connsiteY2" fmla="*/ 409574 h 1213299"/>
              <a:gd name="connsiteX3" fmla="*/ 1323974 w 1620913"/>
              <a:gd name="connsiteY3" fmla="*/ 0 h 1213299"/>
              <a:gd name="connsiteX4" fmla="*/ 923925 w 1620913"/>
              <a:gd name="connsiteY4" fmla="*/ 426244 h 1213299"/>
              <a:gd name="connsiteX5" fmla="*/ 621506 w 1620913"/>
              <a:gd name="connsiteY5" fmla="*/ 771524 h 1213299"/>
              <a:gd name="connsiteX6" fmla="*/ 0 w 1620913"/>
              <a:gd name="connsiteY6" fmla="*/ 538161 h 121329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32881"/>
              <a:gd name="connsiteY0" fmla="*/ 538161 h 1232035"/>
              <a:gd name="connsiteX1" fmla="*/ 0 w 1632881"/>
              <a:gd name="connsiteY1" fmla="*/ 1066799 h 1232035"/>
              <a:gd name="connsiteX2" fmla="*/ 1621631 w 1632881"/>
              <a:gd name="connsiteY2" fmla="*/ 523874 h 1232035"/>
              <a:gd name="connsiteX3" fmla="*/ 1323974 w 1632881"/>
              <a:gd name="connsiteY3" fmla="*/ 0 h 1232035"/>
              <a:gd name="connsiteX4" fmla="*/ 923925 w 1632881"/>
              <a:gd name="connsiteY4" fmla="*/ 426244 h 1232035"/>
              <a:gd name="connsiteX5" fmla="*/ 621506 w 1632881"/>
              <a:gd name="connsiteY5" fmla="*/ 771524 h 1232035"/>
              <a:gd name="connsiteX6" fmla="*/ 0 w 1632881"/>
              <a:gd name="connsiteY6" fmla="*/ 538161 h 1232035"/>
              <a:gd name="connsiteX0" fmla="*/ 0 w 1622936"/>
              <a:gd name="connsiteY0" fmla="*/ 538161 h 1236750"/>
              <a:gd name="connsiteX1" fmla="*/ 0 w 1622936"/>
              <a:gd name="connsiteY1" fmla="*/ 1066799 h 1236750"/>
              <a:gd name="connsiteX2" fmla="*/ 1621631 w 1622936"/>
              <a:gd name="connsiteY2" fmla="*/ 523874 h 1236750"/>
              <a:gd name="connsiteX3" fmla="*/ 1323974 w 1622936"/>
              <a:gd name="connsiteY3" fmla="*/ 0 h 1236750"/>
              <a:gd name="connsiteX4" fmla="*/ 923925 w 1622936"/>
              <a:gd name="connsiteY4" fmla="*/ 426244 h 1236750"/>
              <a:gd name="connsiteX5" fmla="*/ 621506 w 1622936"/>
              <a:gd name="connsiteY5" fmla="*/ 771524 h 1236750"/>
              <a:gd name="connsiteX6" fmla="*/ 0 w 1622936"/>
              <a:gd name="connsiteY6" fmla="*/ 538161 h 1236750"/>
              <a:gd name="connsiteX0" fmla="*/ 0 w 1627932"/>
              <a:gd name="connsiteY0" fmla="*/ 538161 h 1227283"/>
              <a:gd name="connsiteX1" fmla="*/ 0 w 1627932"/>
              <a:gd name="connsiteY1" fmla="*/ 1066799 h 1227283"/>
              <a:gd name="connsiteX2" fmla="*/ 1621631 w 1627932"/>
              <a:gd name="connsiteY2" fmla="*/ 523874 h 1227283"/>
              <a:gd name="connsiteX3" fmla="*/ 1323974 w 1627932"/>
              <a:gd name="connsiteY3" fmla="*/ 0 h 1227283"/>
              <a:gd name="connsiteX4" fmla="*/ 923925 w 1627932"/>
              <a:gd name="connsiteY4" fmla="*/ 426244 h 1227283"/>
              <a:gd name="connsiteX5" fmla="*/ 621506 w 1627932"/>
              <a:gd name="connsiteY5" fmla="*/ 771524 h 1227283"/>
              <a:gd name="connsiteX6" fmla="*/ 0 w 1627932"/>
              <a:gd name="connsiteY6" fmla="*/ 538161 h 1227283"/>
              <a:gd name="connsiteX0" fmla="*/ 0 w 1627932"/>
              <a:gd name="connsiteY0" fmla="*/ 538161 h 1066799"/>
              <a:gd name="connsiteX1" fmla="*/ 0 w 1627932"/>
              <a:gd name="connsiteY1" fmla="*/ 1066799 h 1066799"/>
              <a:gd name="connsiteX2" fmla="*/ 1621631 w 1627932"/>
              <a:gd name="connsiteY2" fmla="*/ 523874 h 1066799"/>
              <a:gd name="connsiteX3" fmla="*/ 1323974 w 1627932"/>
              <a:gd name="connsiteY3" fmla="*/ 0 h 1066799"/>
              <a:gd name="connsiteX4" fmla="*/ 923925 w 1627932"/>
              <a:gd name="connsiteY4" fmla="*/ 426244 h 1066799"/>
              <a:gd name="connsiteX5" fmla="*/ 621506 w 1627932"/>
              <a:gd name="connsiteY5" fmla="*/ 771524 h 1066799"/>
              <a:gd name="connsiteX6" fmla="*/ 0 w 1627932"/>
              <a:gd name="connsiteY6" fmla="*/ 538161 h 1066799"/>
              <a:gd name="connsiteX0" fmla="*/ 0 w 1627647"/>
              <a:gd name="connsiteY0" fmla="*/ 538161 h 1066799"/>
              <a:gd name="connsiteX1" fmla="*/ 0 w 1627647"/>
              <a:gd name="connsiteY1" fmla="*/ 1066799 h 1066799"/>
              <a:gd name="connsiteX2" fmla="*/ 1621631 w 1627647"/>
              <a:gd name="connsiteY2" fmla="*/ 523874 h 1066799"/>
              <a:gd name="connsiteX3" fmla="*/ 1323974 w 1627647"/>
              <a:gd name="connsiteY3" fmla="*/ 0 h 1066799"/>
              <a:gd name="connsiteX4" fmla="*/ 923925 w 1627647"/>
              <a:gd name="connsiteY4" fmla="*/ 426244 h 1066799"/>
              <a:gd name="connsiteX5" fmla="*/ 621506 w 1627647"/>
              <a:gd name="connsiteY5" fmla="*/ 771524 h 1066799"/>
              <a:gd name="connsiteX6" fmla="*/ 0 w 1627647"/>
              <a:gd name="connsiteY6" fmla="*/ 538161 h 1066799"/>
              <a:gd name="connsiteX0" fmla="*/ 0 w 1627647"/>
              <a:gd name="connsiteY0" fmla="*/ 538161 h 1066799"/>
              <a:gd name="connsiteX1" fmla="*/ 0 w 1627647"/>
              <a:gd name="connsiteY1" fmla="*/ 1066799 h 1066799"/>
              <a:gd name="connsiteX2" fmla="*/ 1621631 w 1627647"/>
              <a:gd name="connsiteY2" fmla="*/ 523874 h 1066799"/>
              <a:gd name="connsiteX3" fmla="*/ 1323974 w 1627647"/>
              <a:gd name="connsiteY3" fmla="*/ 0 h 1066799"/>
              <a:gd name="connsiteX4" fmla="*/ 923925 w 1627647"/>
              <a:gd name="connsiteY4" fmla="*/ 426244 h 1066799"/>
              <a:gd name="connsiteX5" fmla="*/ 621506 w 1627647"/>
              <a:gd name="connsiteY5" fmla="*/ 771524 h 1066799"/>
              <a:gd name="connsiteX6" fmla="*/ 0 w 1627647"/>
              <a:gd name="connsiteY6" fmla="*/ 538161 h 1066799"/>
              <a:gd name="connsiteX0" fmla="*/ 0 w 1627647"/>
              <a:gd name="connsiteY0" fmla="*/ 538161 h 1134969"/>
              <a:gd name="connsiteX1" fmla="*/ 0 w 1627647"/>
              <a:gd name="connsiteY1" fmla="*/ 1066799 h 1134969"/>
              <a:gd name="connsiteX2" fmla="*/ 1621631 w 1627647"/>
              <a:gd name="connsiteY2" fmla="*/ 523874 h 1134969"/>
              <a:gd name="connsiteX3" fmla="*/ 1323974 w 1627647"/>
              <a:gd name="connsiteY3" fmla="*/ 0 h 1134969"/>
              <a:gd name="connsiteX4" fmla="*/ 923925 w 1627647"/>
              <a:gd name="connsiteY4" fmla="*/ 426244 h 1134969"/>
              <a:gd name="connsiteX5" fmla="*/ 621506 w 1627647"/>
              <a:gd name="connsiteY5" fmla="*/ 771524 h 1134969"/>
              <a:gd name="connsiteX6" fmla="*/ 0 w 1627647"/>
              <a:gd name="connsiteY6" fmla="*/ 538161 h 1134969"/>
              <a:gd name="connsiteX0" fmla="*/ 0 w 1627647"/>
              <a:gd name="connsiteY0" fmla="*/ 538161 h 1213483"/>
              <a:gd name="connsiteX1" fmla="*/ 0 w 1627647"/>
              <a:gd name="connsiteY1" fmla="*/ 1066799 h 1213483"/>
              <a:gd name="connsiteX2" fmla="*/ 1621631 w 1627647"/>
              <a:gd name="connsiteY2" fmla="*/ 523874 h 1213483"/>
              <a:gd name="connsiteX3" fmla="*/ 1323974 w 1627647"/>
              <a:gd name="connsiteY3" fmla="*/ 0 h 1213483"/>
              <a:gd name="connsiteX4" fmla="*/ 923925 w 1627647"/>
              <a:gd name="connsiteY4" fmla="*/ 426244 h 1213483"/>
              <a:gd name="connsiteX5" fmla="*/ 621506 w 1627647"/>
              <a:gd name="connsiteY5" fmla="*/ 771524 h 1213483"/>
              <a:gd name="connsiteX6" fmla="*/ 0 w 1627647"/>
              <a:gd name="connsiteY6" fmla="*/ 538161 h 1213483"/>
              <a:gd name="connsiteX0" fmla="*/ 0 w 1627647"/>
              <a:gd name="connsiteY0" fmla="*/ 538161 h 1190326"/>
              <a:gd name="connsiteX1" fmla="*/ 0 w 1627647"/>
              <a:gd name="connsiteY1" fmla="*/ 1066799 h 1190326"/>
              <a:gd name="connsiteX2" fmla="*/ 1621631 w 1627647"/>
              <a:gd name="connsiteY2" fmla="*/ 523874 h 1190326"/>
              <a:gd name="connsiteX3" fmla="*/ 1323974 w 1627647"/>
              <a:gd name="connsiteY3" fmla="*/ 0 h 1190326"/>
              <a:gd name="connsiteX4" fmla="*/ 923925 w 1627647"/>
              <a:gd name="connsiteY4" fmla="*/ 426244 h 1190326"/>
              <a:gd name="connsiteX5" fmla="*/ 621506 w 1627647"/>
              <a:gd name="connsiteY5" fmla="*/ 771524 h 1190326"/>
              <a:gd name="connsiteX6" fmla="*/ 0 w 1627647"/>
              <a:gd name="connsiteY6" fmla="*/ 538161 h 1190326"/>
              <a:gd name="connsiteX0" fmla="*/ 0 w 1627647"/>
              <a:gd name="connsiteY0" fmla="*/ 538161 h 1219698"/>
              <a:gd name="connsiteX1" fmla="*/ 0 w 1627647"/>
              <a:gd name="connsiteY1" fmla="*/ 1066799 h 1219698"/>
              <a:gd name="connsiteX2" fmla="*/ 1621631 w 1627647"/>
              <a:gd name="connsiteY2" fmla="*/ 523874 h 1219698"/>
              <a:gd name="connsiteX3" fmla="*/ 1323974 w 1627647"/>
              <a:gd name="connsiteY3" fmla="*/ 0 h 1219698"/>
              <a:gd name="connsiteX4" fmla="*/ 923925 w 1627647"/>
              <a:gd name="connsiteY4" fmla="*/ 426244 h 1219698"/>
              <a:gd name="connsiteX5" fmla="*/ 621506 w 1627647"/>
              <a:gd name="connsiteY5" fmla="*/ 771524 h 1219698"/>
              <a:gd name="connsiteX6" fmla="*/ 0 w 1627647"/>
              <a:gd name="connsiteY6" fmla="*/ 538161 h 1219698"/>
              <a:gd name="connsiteX0" fmla="*/ 0 w 1627647"/>
              <a:gd name="connsiteY0" fmla="*/ 538161 h 1232307"/>
              <a:gd name="connsiteX1" fmla="*/ 0 w 1627647"/>
              <a:gd name="connsiteY1" fmla="*/ 1066799 h 1232307"/>
              <a:gd name="connsiteX2" fmla="*/ 1621631 w 1627647"/>
              <a:gd name="connsiteY2" fmla="*/ 523874 h 1232307"/>
              <a:gd name="connsiteX3" fmla="*/ 1323974 w 1627647"/>
              <a:gd name="connsiteY3" fmla="*/ 0 h 1232307"/>
              <a:gd name="connsiteX4" fmla="*/ 923925 w 1627647"/>
              <a:gd name="connsiteY4" fmla="*/ 426244 h 1232307"/>
              <a:gd name="connsiteX5" fmla="*/ 621506 w 1627647"/>
              <a:gd name="connsiteY5" fmla="*/ 771524 h 1232307"/>
              <a:gd name="connsiteX6" fmla="*/ 0 w 1627647"/>
              <a:gd name="connsiteY6" fmla="*/ 538161 h 1232307"/>
              <a:gd name="connsiteX0" fmla="*/ 0 w 1627647"/>
              <a:gd name="connsiteY0" fmla="*/ 538161 h 1217230"/>
              <a:gd name="connsiteX1" fmla="*/ 0 w 1627647"/>
              <a:gd name="connsiteY1" fmla="*/ 1066799 h 1217230"/>
              <a:gd name="connsiteX2" fmla="*/ 1621631 w 1627647"/>
              <a:gd name="connsiteY2" fmla="*/ 523874 h 1217230"/>
              <a:gd name="connsiteX3" fmla="*/ 1323974 w 1627647"/>
              <a:gd name="connsiteY3" fmla="*/ 0 h 1217230"/>
              <a:gd name="connsiteX4" fmla="*/ 923925 w 1627647"/>
              <a:gd name="connsiteY4" fmla="*/ 426244 h 1217230"/>
              <a:gd name="connsiteX5" fmla="*/ 621506 w 1627647"/>
              <a:gd name="connsiteY5" fmla="*/ 771524 h 1217230"/>
              <a:gd name="connsiteX6" fmla="*/ 0 w 1627647"/>
              <a:gd name="connsiteY6" fmla="*/ 538161 h 1217230"/>
              <a:gd name="connsiteX0" fmla="*/ 0 w 1627647"/>
              <a:gd name="connsiteY0" fmla="*/ 538161 h 1188997"/>
              <a:gd name="connsiteX1" fmla="*/ 0 w 1627647"/>
              <a:gd name="connsiteY1" fmla="*/ 1066799 h 1188997"/>
              <a:gd name="connsiteX2" fmla="*/ 1621631 w 1627647"/>
              <a:gd name="connsiteY2" fmla="*/ 523874 h 1188997"/>
              <a:gd name="connsiteX3" fmla="*/ 1323974 w 1627647"/>
              <a:gd name="connsiteY3" fmla="*/ 0 h 1188997"/>
              <a:gd name="connsiteX4" fmla="*/ 923925 w 1627647"/>
              <a:gd name="connsiteY4" fmla="*/ 426244 h 1188997"/>
              <a:gd name="connsiteX5" fmla="*/ 621506 w 1627647"/>
              <a:gd name="connsiteY5" fmla="*/ 771524 h 1188997"/>
              <a:gd name="connsiteX6" fmla="*/ 0 w 1627647"/>
              <a:gd name="connsiteY6" fmla="*/ 538161 h 1188997"/>
              <a:gd name="connsiteX0" fmla="*/ 0 w 1627647"/>
              <a:gd name="connsiteY0" fmla="*/ 538161 h 1216261"/>
              <a:gd name="connsiteX1" fmla="*/ 0 w 1627647"/>
              <a:gd name="connsiteY1" fmla="*/ 1066799 h 1216261"/>
              <a:gd name="connsiteX2" fmla="*/ 1621631 w 1627647"/>
              <a:gd name="connsiteY2" fmla="*/ 523874 h 1216261"/>
              <a:gd name="connsiteX3" fmla="*/ 1323974 w 1627647"/>
              <a:gd name="connsiteY3" fmla="*/ 0 h 1216261"/>
              <a:gd name="connsiteX4" fmla="*/ 923925 w 1627647"/>
              <a:gd name="connsiteY4" fmla="*/ 426244 h 1216261"/>
              <a:gd name="connsiteX5" fmla="*/ 621506 w 1627647"/>
              <a:gd name="connsiteY5" fmla="*/ 771524 h 1216261"/>
              <a:gd name="connsiteX6" fmla="*/ 0 w 1627647"/>
              <a:gd name="connsiteY6" fmla="*/ 538161 h 1216261"/>
              <a:gd name="connsiteX0" fmla="*/ 0 w 1627647"/>
              <a:gd name="connsiteY0" fmla="*/ 538161 h 1206398"/>
              <a:gd name="connsiteX1" fmla="*/ 0 w 1627647"/>
              <a:gd name="connsiteY1" fmla="*/ 1066799 h 1206398"/>
              <a:gd name="connsiteX2" fmla="*/ 1621631 w 1627647"/>
              <a:gd name="connsiteY2" fmla="*/ 523874 h 1206398"/>
              <a:gd name="connsiteX3" fmla="*/ 1323974 w 1627647"/>
              <a:gd name="connsiteY3" fmla="*/ 0 h 1206398"/>
              <a:gd name="connsiteX4" fmla="*/ 923925 w 1627647"/>
              <a:gd name="connsiteY4" fmla="*/ 426244 h 1206398"/>
              <a:gd name="connsiteX5" fmla="*/ 621506 w 1627647"/>
              <a:gd name="connsiteY5" fmla="*/ 771524 h 1206398"/>
              <a:gd name="connsiteX6" fmla="*/ 0 w 1627647"/>
              <a:gd name="connsiteY6" fmla="*/ 538161 h 1206398"/>
              <a:gd name="connsiteX0" fmla="*/ 0 w 1627647"/>
              <a:gd name="connsiteY0" fmla="*/ 538161 h 1218880"/>
              <a:gd name="connsiteX1" fmla="*/ 0 w 1627647"/>
              <a:gd name="connsiteY1" fmla="*/ 1066799 h 1218880"/>
              <a:gd name="connsiteX2" fmla="*/ 1621631 w 1627647"/>
              <a:gd name="connsiteY2" fmla="*/ 523874 h 1218880"/>
              <a:gd name="connsiteX3" fmla="*/ 1323974 w 1627647"/>
              <a:gd name="connsiteY3" fmla="*/ 0 h 1218880"/>
              <a:gd name="connsiteX4" fmla="*/ 923925 w 1627647"/>
              <a:gd name="connsiteY4" fmla="*/ 426244 h 1218880"/>
              <a:gd name="connsiteX5" fmla="*/ 621506 w 1627647"/>
              <a:gd name="connsiteY5" fmla="*/ 771524 h 1218880"/>
              <a:gd name="connsiteX6" fmla="*/ 0 w 1627647"/>
              <a:gd name="connsiteY6" fmla="*/ 538161 h 1218880"/>
              <a:gd name="connsiteX0" fmla="*/ 0 w 1627647"/>
              <a:gd name="connsiteY0" fmla="*/ 538161 h 1211596"/>
              <a:gd name="connsiteX1" fmla="*/ 0 w 1627647"/>
              <a:gd name="connsiteY1" fmla="*/ 1066799 h 1211596"/>
              <a:gd name="connsiteX2" fmla="*/ 1621631 w 1627647"/>
              <a:gd name="connsiteY2" fmla="*/ 523874 h 1211596"/>
              <a:gd name="connsiteX3" fmla="*/ 1323974 w 1627647"/>
              <a:gd name="connsiteY3" fmla="*/ 0 h 1211596"/>
              <a:gd name="connsiteX4" fmla="*/ 923925 w 1627647"/>
              <a:gd name="connsiteY4" fmla="*/ 426244 h 1211596"/>
              <a:gd name="connsiteX5" fmla="*/ 621506 w 1627647"/>
              <a:gd name="connsiteY5" fmla="*/ 771524 h 1211596"/>
              <a:gd name="connsiteX6" fmla="*/ 0 w 1627647"/>
              <a:gd name="connsiteY6" fmla="*/ 538161 h 1211596"/>
              <a:gd name="connsiteX0" fmla="*/ 0 w 1627647"/>
              <a:gd name="connsiteY0" fmla="*/ 538161 h 1217962"/>
              <a:gd name="connsiteX1" fmla="*/ 0 w 1627647"/>
              <a:gd name="connsiteY1" fmla="*/ 1066799 h 1217962"/>
              <a:gd name="connsiteX2" fmla="*/ 1621631 w 1627647"/>
              <a:gd name="connsiteY2" fmla="*/ 523874 h 1217962"/>
              <a:gd name="connsiteX3" fmla="*/ 1323974 w 1627647"/>
              <a:gd name="connsiteY3" fmla="*/ 0 h 1217962"/>
              <a:gd name="connsiteX4" fmla="*/ 923925 w 1627647"/>
              <a:gd name="connsiteY4" fmla="*/ 426244 h 1217962"/>
              <a:gd name="connsiteX5" fmla="*/ 621506 w 1627647"/>
              <a:gd name="connsiteY5" fmla="*/ 771524 h 1217962"/>
              <a:gd name="connsiteX6" fmla="*/ 0 w 1627647"/>
              <a:gd name="connsiteY6" fmla="*/ 538161 h 1217962"/>
              <a:gd name="connsiteX0" fmla="*/ 0 w 1627647"/>
              <a:gd name="connsiteY0" fmla="*/ 538161 h 1218399"/>
              <a:gd name="connsiteX1" fmla="*/ 0 w 1627647"/>
              <a:gd name="connsiteY1" fmla="*/ 1066799 h 1218399"/>
              <a:gd name="connsiteX2" fmla="*/ 1621631 w 1627647"/>
              <a:gd name="connsiteY2" fmla="*/ 523874 h 1218399"/>
              <a:gd name="connsiteX3" fmla="*/ 1323974 w 1627647"/>
              <a:gd name="connsiteY3" fmla="*/ 0 h 1218399"/>
              <a:gd name="connsiteX4" fmla="*/ 923925 w 1627647"/>
              <a:gd name="connsiteY4" fmla="*/ 426244 h 1218399"/>
              <a:gd name="connsiteX5" fmla="*/ 621506 w 1627647"/>
              <a:gd name="connsiteY5" fmla="*/ 771524 h 1218399"/>
              <a:gd name="connsiteX6" fmla="*/ 0 w 1627647"/>
              <a:gd name="connsiteY6" fmla="*/ 538161 h 1218399"/>
              <a:gd name="connsiteX0" fmla="*/ 0 w 1627647"/>
              <a:gd name="connsiteY0" fmla="*/ 538161 h 1212839"/>
              <a:gd name="connsiteX1" fmla="*/ 0 w 1627647"/>
              <a:gd name="connsiteY1" fmla="*/ 1066799 h 1212839"/>
              <a:gd name="connsiteX2" fmla="*/ 1621631 w 1627647"/>
              <a:gd name="connsiteY2" fmla="*/ 523874 h 1212839"/>
              <a:gd name="connsiteX3" fmla="*/ 1323974 w 1627647"/>
              <a:gd name="connsiteY3" fmla="*/ 0 h 1212839"/>
              <a:gd name="connsiteX4" fmla="*/ 923925 w 1627647"/>
              <a:gd name="connsiteY4" fmla="*/ 426244 h 1212839"/>
              <a:gd name="connsiteX5" fmla="*/ 621506 w 1627647"/>
              <a:gd name="connsiteY5" fmla="*/ 771524 h 1212839"/>
              <a:gd name="connsiteX6" fmla="*/ 0 w 1627647"/>
              <a:gd name="connsiteY6" fmla="*/ 538161 h 1212839"/>
              <a:gd name="connsiteX0" fmla="*/ 0 w 1627647"/>
              <a:gd name="connsiteY0" fmla="*/ 538161 h 1212839"/>
              <a:gd name="connsiteX1" fmla="*/ 0 w 1627647"/>
              <a:gd name="connsiteY1" fmla="*/ 1066799 h 1212839"/>
              <a:gd name="connsiteX2" fmla="*/ 1621631 w 1627647"/>
              <a:gd name="connsiteY2" fmla="*/ 523874 h 1212839"/>
              <a:gd name="connsiteX3" fmla="*/ 1323974 w 1627647"/>
              <a:gd name="connsiteY3" fmla="*/ 0 h 1212839"/>
              <a:gd name="connsiteX4" fmla="*/ 1078707 w 1627647"/>
              <a:gd name="connsiteY4" fmla="*/ 257177 h 1212839"/>
              <a:gd name="connsiteX5" fmla="*/ 923925 w 1627647"/>
              <a:gd name="connsiteY5" fmla="*/ 426244 h 1212839"/>
              <a:gd name="connsiteX6" fmla="*/ 621506 w 1627647"/>
              <a:gd name="connsiteY6" fmla="*/ 771524 h 1212839"/>
              <a:gd name="connsiteX7" fmla="*/ 0 w 1627647"/>
              <a:gd name="connsiteY7" fmla="*/ 538161 h 1212839"/>
              <a:gd name="connsiteX0" fmla="*/ 0 w 1627647"/>
              <a:gd name="connsiteY0" fmla="*/ 538161 h 1212839"/>
              <a:gd name="connsiteX1" fmla="*/ 0 w 1627647"/>
              <a:gd name="connsiteY1" fmla="*/ 1066799 h 1212839"/>
              <a:gd name="connsiteX2" fmla="*/ 1621631 w 1627647"/>
              <a:gd name="connsiteY2" fmla="*/ 523874 h 1212839"/>
              <a:gd name="connsiteX3" fmla="*/ 1323974 w 1627647"/>
              <a:gd name="connsiteY3" fmla="*/ 0 h 1212839"/>
              <a:gd name="connsiteX4" fmla="*/ 595313 w 1627647"/>
              <a:gd name="connsiteY4" fmla="*/ 185739 h 1212839"/>
              <a:gd name="connsiteX5" fmla="*/ 923925 w 1627647"/>
              <a:gd name="connsiteY5" fmla="*/ 426244 h 1212839"/>
              <a:gd name="connsiteX6" fmla="*/ 621506 w 1627647"/>
              <a:gd name="connsiteY6" fmla="*/ 771524 h 1212839"/>
              <a:gd name="connsiteX7" fmla="*/ 0 w 1627647"/>
              <a:gd name="connsiteY7" fmla="*/ 538161 h 1212839"/>
              <a:gd name="connsiteX0" fmla="*/ 0 w 1627647"/>
              <a:gd name="connsiteY0" fmla="*/ 538161 h 1212839"/>
              <a:gd name="connsiteX1" fmla="*/ 0 w 1627647"/>
              <a:gd name="connsiteY1" fmla="*/ 1066799 h 1212839"/>
              <a:gd name="connsiteX2" fmla="*/ 1621631 w 1627647"/>
              <a:gd name="connsiteY2" fmla="*/ 523874 h 1212839"/>
              <a:gd name="connsiteX3" fmla="*/ 1323974 w 1627647"/>
              <a:gd name="connsiteY3" fmla="*/ 0 h 1212839"/>
              <a:gd name="connsiteX4" fmla="*/ 973932 w 1627647"/>
              <a:gd name="connsiteY4" fmla="*/ 85727 h 1212839"/>
              <a:gd name="connsiteX5" fmla="*/ 595313 w 1627647"/>
              <a:gd name="connsiteY5" fmla="*/ 185739 h 1212839"/>
              <a:gd name="connsiteX6" fmla="*/ 923925 w 1627647"/>
              <a:gd name="connsiteY6" fmla="*/ 426244 h 1212839"/>
              <a:gd name="connsiteX7" fmla="*/ 621506 w 1627647"/>
              <a:gd name="connsiteY7" fmla="*/ 771524 h 1212839"/>
              <a:gd name="connsiteX8" fmla="*/ 0 w 1627647"/>
              <a:gd name="connsiteY8" fmla="*/ 538161 h 1212839"/>
              <a:gd name="connsiteX0" fmla="*/ 0 w 1627647"/>
              <a:gd name="connsiteY0" fmla="*/ 745328 h 1420006"/>
              <a:gd name="connsiteX1" fmla="*/ 0 w 1627647"/>
              <a:gd name="connsiteY1" fmla="*/ 1273966 h 1420006"/>
              <a:gd name="connsiteX2" fmla="*/ 1621631 w 1627647"/>
              <a:gd name="connsiteY2" fmla="*/ 731041 h 1420006"/>
              <a:gd name="connsiteX3" fmla="*/ 1323974 w 1627647"/>
              <a:gd name="connsiteY3" fmla="*/ 207167 h 1420006"/>
              <a:gd name="connsiteX4" fmla="*/ 835820 w 1627647"/>
              <a:gd name="connsiteY4" fmla="*/ 0 h 1420006"/>
              <a:gd name="connsiteX5" fmla="*/ 595313 w 1627647"/>
              <a:gd name="connsiteY5" fmla="*/ 392906 h 1420006"/>
              <a:gd name="connsiteX6" fmla="*/ 923925 w 1627647"/>
              <a:gd name="connsiteY6" fmla="*/ 633411 h 1420006"/>
              <a:gd name="connsiteX7" fmla="*/ 621506 w 1627647"/>
              <a:gd name="connsiteY7" fmla="*/ 978691 h 1420006"/>
              <a:gd name="connsiteX8" fmla="*/ 0 w 1627647"/>
              <a:gd name="connsiteY8" fmla="*/ 745328 h 1420006"/>
              <a:gd name="connsiteX0" fmla="*/ 0 w 1591281"/>
              <a:gd name="connsiteY0" fmla="*/ 745328 h 1469663"/>
              <a:gd name="connsiteX1" fmla="*/ 0 w 1591281"/>
              <a:gd name="connsiteY1" fmla="*/ 1273966 h 1469663"/>
              <a:gd name="connsiteX2" fmla="*/ 1574006 w 1591281"/>
              <a:gd name="connsiteY2" fmla="*/ 928685 h 1469663"/>
              <a:gd name="connsiteX3" fmla="*/ 1323974 w 1591281"/>
              <a:gd name="connsiteY3" fmla="*/ 207167 h 1469663"/>
              <a:gd name="connsiteX4" fmla="*/ 835820 w 1591281"/>
              <a:gd name="connsiteY4" fmla="*/ 0 h 1469663"/>
              <a:gd name="connsiteX5" fmla="*/ 595313 w 1591281"/>
              <a:gd name="connsiteY5" fmla="*/ 392906 h 1469663"/>
              <a:gd name="connsiteX6" fmla="*/ 923925 w 1591281"/>
              <a:gd name="connsiteY6" fmla="*/ 633411 h 1469663"/>
              <a:gd name="connsiteX7" fmla="*/ 621506 w 1591281"/>
              <a:gd name="connsiteY7" fmla="*/ 978691 h 1469663"/>
              <a:gd name="connsiteX8" fmla="*/ 0 w 1591281"/>
              <a:gd name="connsiteY8" fmla="*/ 745328 h 1469663"/>
              <a:gd name="connsiteX0" fmla="*/ 0 w 1591281"/>
              <a:gd name="connsiteY0" fmla="*/ 745328 h 1425021"/>
              <a:gd name="connsiteX1" fmla="*/ 0 w 1591281"/>
              <a:gd name="connsiteY1" fmla="*/ 1273966 h 1425021"/>
              <a:gd name="connsiteX2" fmla="*/ 1574006 w 1591281"/>
              <a:gd name="connsiteY2" fmla="*/ 928685 h 1425021"/>
              <a:gd name="connsiteX3" fmla="*/ 1323974 w 1591281"/>
              <a:gd name="connsiteY3" fmla="*/ 207167 h 1425021"/>
              <a:gd name="connsiteX4" fmla="*/ 835820 w 1591281"/>
              <a:gd name="connsiteY4" fmla="*/ 0 h 1425021"/>
              <a:gd name="connsiteX5" fmla="*/ 595313 w 1591281"/>
              <a:gd name="connsiteY5" fmla="*/ 392906 h 1425021"/>
              <a:gd name="connsiteX6" fmla="*/ 923925 w 1591281"/>
              <a:gd name="connsiteY6" fmla="*/ 633411 h 1425021"/>
              <a:gd name="connsiteX7" fmla="*/ 621506 w 1591281"/>
              <a:gd name="connsiteY7" fmla="*/ 978691 h 1425021"/>
              <a:gd name="connsiteX8" fmla="*/ 0 w 1591281"/>
              <a:gd name="connsiteY8" fmla="*/ 745328 h 1425021"/>
              <a:gd name="connsiteX0" fmla="*/ 0 w 1622856"/>
              <a:gd name="connsiteY0" fmla="*/ 745328 h 1425021"/>
              <a:gd name="connsiteX1" fmla="*/ 0 w 1622856"/>
              <a:gd name="connsiteY1" fmla="*/ 1273966 h 1425021"/>
              <a:gd name="connsiteX2" fmla="*/ 1574006 w 1622856"/>
              <a:gd name="connsiteY2" fmla="*/ 928685 h 1425021"/>
              <a:gd name="connsiteX3" fmla="*/ 1323974 w 1622856"/>
              <a:gd name="connsiteY3" fmla="*/ 207167 h 1425021"/>
              <a:gd name="connsiteX4" fmla="*/ 835820 w 1622856"/>
              <a:gd name="connsiteY4" fmla="*/ 0 h 1425021"/>
              <a:gd name="connsiteX5" fmla="*/ 595313 w 1622856"/>
              <a:gd name="connsiteY5" fmla="*/ 392906 h 1425021"/>
              <a:gd name="connsiteX6" fmla="*/ 923925 w 1622856"/>
              <a:gd name="connsiteY6" fmla="*/ 633411 h 1425021"/>
              <a:gd name="connsiteX7" fmla="*/ 621506 w 1622856"/>
              <a:gd name="connsiteY7" fmla="*/ 978691 h 1425021"/>
              <a:gd name="connsiteX8" fmla="*/ 0 w 1622856"/>
              <a:gd name="connsiteY8" fmla="*/ 745328 h 1425021"/>
              <a:gd name="connsiteX0" fmla="*/ 0 w 1608710"/>
              <a:gd name="connsiteY0" fmla="*/ 745328 h 1425021"/>
              <a:gd name="connsiteX1" fmla="*/ 0 w 1608710"/>
              <a:gd name="connsiteY1" fmla="*/ 1273966 h 1425021"/>
              <a:gd name="connsiteX2" fmla="*/ 1574006 w 1608710"/>
              <a:gd name="connsiteY2" fmla="*/ 928685 h 1425021"/>
              <a:gd name="connsiteX3" fmla="*/ 1264443 w 1608710"/>
              <a:gd name="connsiteY3" fmla="*/ 166686 h 1425021"/>
              <a:gd name="connsiteX4" fmla="*/ 835820 w 1608710"/>
              <a:gd name="connsiteY4" fmla="*/ 0 h 1425021"/>
              <a:gd name="connsiteX5" fmla="*/ 595313 w 1608710"/>
              <a:gd name="connsiteY5" fmla="*/ 392906 h 1425021"/>
              <a:gd name="connsiteX6" fmla="*/ 923925 w 1608710"/>
              <a:gd name="connsiteY6" fmla="*/ 633411 h 1425021"/>
              <a:gd name="connsiteX7" fmla="*/ 621506 w 1608710"/>
              <a:gd name="connsiteY7" fmla="*/ 978691 h 1425021"/>
              <a:gd name="connsiteX8" fmla="*/ 0 w 1608710"/>
              <a:gd name="connsiteY8" fmla="*/ 745328 h 1425021"/>
              <a:gd name="connsiteX0" fmla="*/ 0 w 1623138"/>
              <a:gd name="connsiteY0" fmla="*/ 745328 h 1425021"/>
              <a:gd name="connsiteX1" fmla="*/ 0 w 1623138"/>
              <a:gd name="connsiteY1" fmla="*/ 1273966 h 1425021"/>
              <a:gd name="connsiteX2" fmla="*/ 1574006 w 1623138"/>
              <a:gd name="connsiteY2" fmla="*/ 928685 h 1425021"/>
              <a:gd name="connsiteX3" fmla="*/ 1264443 w 1623138"/>
              <a:gd name="connsiteY3" fmla="*/ 166686 h 1425021"/>
              <a:gd name="connsiteX4" fmla="*/ 835820 w 1623138"/>
              <a:gd name="connsiteY4" fmla="*/ 0 h 1425021"/>
              <a:gd name="connsiteX5" fmla="*/ 595313 w 1623138"/>
              <a:gd name="connsiteY5" fmla="*/ 392906 h 1425021"/>
              <a:gd name="connsiteX6" fmla="*/ 923925 w 1623138"/>
              <a:gd name="connsiteY6" fmla="*/ 633411 h 1425021"/>
              <a:gd name="connsiteX7" fmla="*/ 621506 w 1623138"/>
              <a:gd name="connsiteY7" fmla="*/ 978691 h 1425021"/>
              <a:gd name="connsiteX8" fmla="*/ 0 w 1623138"/>
              <a:gd name="connsiteY8" fmla="*/ 745328 h 1425021"/>
              <a:gd name="connsiteX0" fmla="*/ 0 w 1623138"/>
              <a:gd name="connsiteY0" fmla="*/ 745328 h 1425021"/>
              <a:gd name="connsiteX1" fmla="*/ 0 w 1623138"/>
              <a:gd name="connsiteY1" fmla="*/ 1273966 h 1425021"/>
              <a:gd name="connsiteX2" fmla="*/ 1574006 w 1623138"/>
              <a:gd name="connsiteY2" fmla="*/ 928685 h 1425021"/>
              <a:gd name="connsiteX3" fmla="*/ 1264443 w 1623138"/>
              <a:gd name="connsiteY3" fmla="*/ 166686 h 1425021"/>
              <a:gd name="connsiteX4" fmla="*/ 835820 w 1623138"/>
              <a:gd name="connsiteY4" fmla="*/ 0 h 1425021"/>
              <a:gd name="connsiteX5" fmla="*/ 595313 w 1623138"/>
              <a:gd name="connsiteY5" fmla="*/ 392906 h 1425021"/>
              <a:gd name="connsiteX6" fmla="*/ 923925 w 1623138"/>
              <a:gd name="connsiteY6" fmla="*/ 633411 h 1425021"/>
              <a:gd name="connsiteX7" fmla="*/ 621506 w 1623138"/>
              <a:gd name="connsiteY7" fmla="*/ 978691 h 1425021"/>
              <a:gd name="connsiteX8" fmla="*/ 0 w 1623138"/>
              <a:gd name="connsiteY8" fmla="*/ 745328 h 1425021"/>
              <a:gd name="connsiteX0" fmla="*/ 0 w 1623138"/>
              <a:gd name="connsiteY0" fmla="*/ 745328 h 1425021"/>
              <a:gd name="connsiteX1" fmla="*/ 0 w 1623138"/>
              <a:gd name="connsiteY1" fmla="*/ 1273966 h 1425021"/>
              <a:gd name="connsiteX2" fmla="*/ 1574006 w 1623138"/>
              <a:gd name="connsiteY2" fmla="*/ 928685 h 1425021"/>
              <a:gd name="connsiteX3" fmla="*/ 1264443 w 1623138"/>
              <a:gd name="connsiteY3" fmla="*/ 166686 h 1425021"/>
              <a:gd name="connsiteX4" fmla="*/ 835820 w 1623138"/>
              <a:gd name="connsiteY4" fmla="*/ 0 h 1425021"/>
              <a:gd name="connsiteX5" fmla="*/ 709613 w 1623138"/>
              <a:gd name="connsiteY5" fmla="*/ 207169 h 1425021"/>
              <a:gd name="connsiteX6" fmla="*/ 595313 w 1623138"/>
              <a:gd name="connsiteY6" fmla="*/ 392906 h 1425021"/>
              <a:gd name="connsiteX7" fmla="*/ 923925 w 1623138"/>
              <a:gd name="connsiteY7" fmla="*/ 633411 h 1425021"/>
              <a:gd name="connsiteX8" fmla="*/ 621506 w 1623138"/>
              <a:gd name="connsiteY8" fmla="*/ 978691 h 1425021"/>
              <a:gd name="connsiteX9" fmla="*/ 0 w 1623138"/>
              <a:gd name="connsiteY9" fmla="*/ 745328 h 1425021"/>
              <a:gd name="connsiteX0" fmla="*/ 0 w 1623138"/>
              <a:gd name="connsiteY0" fmla="*/ 797716 h 1477409"/>
              <a:gd name="connsiteX1" fmla="*/ 0 w 1623138"/>
              <a:gd name="connsiteY1" fmla="*/ 1326354 h 1477409"/>
              <a:gd name="connsiteX2" fmla="*/ 1574006 w 1623138"/>
              <a:gd name="connsiteY2" fmla="*/ 981073 h 1477409"/>
              <a:gd name="connsiteX3" fmla="*/ 1264443 w 1623138"/>
              <a:gd name="connsiteY3" fmla="*/ 219074 h 1477409"/>
              <a:gd name="connsiteX4" fmla="*/ 835820 w 1623138"/>
              <a:gd name="connsiteY4" fmla="*/ 52388 h 1477409"/>
              <a:gd name="connsiteX5" fmla="*/ 421482 w 1623138"/>
              <a:gd name="connsiteY5" fmla="*/ 0 h 1477409"/>
              <a:gd name="connsiteX6" fmla="*/ 595313 w 1623138"/>
              <a:gd name="connsiteY6" fmla="*/ 445294 h 1477409"/>
              <a:gd name="connsiteX7" fmla="*/ 923925 w 1623138"/>
              <a:gd name="connsiteY7" fmla="*/ 685799 h 1477409"/>
              <a:gd name="connsiteX8" fmla="*/ 621506 w 1623138"/>
              <a:gd name="connsiteY8" fmla="*/ 1031079 h 1477409"/>
              <a:gd name="connsiteX9" fmla="*/ 0 w 1623138"/>
              <a:gd name="connsiteY9" fmla="*/ 797716 h 1477409"/>
              <a:gd name="connsiteX0" fmla="*/ 0 w 1623138"/>
              <a:gd name="connsiteY0" fmla="*/ 797716 h 1477409"/>
              <a:gd name="connsiteX1" fmla="*/ 0 w 1623138"/>
              <a:gd name="connsiteY1" fmla="*/ 1326354 h 1477409"/>
              <a:gd name="connsiteX2" fmla="*/ 1574006 w 1623138"/>
              <a:gd name="connsiteY2" fmla="*/ 981073 h 1477409"/>
              <a:gd name="connsiteX3" fmla="*/ 1264443 w 1623138"/>
              <a:gd name="connsiteY3" fmla="*/ 219074 h 1477409"/>
              <a:gd name="connsiteX4" fmla="*/ 835820 w 1623138"/>
              <a:gd name="connsiteY4" fmla="*/ 52388 h 1477409"/>
              <a:gd name="connsiteX5" fmla="*/ 654844 w 1623138"/>
              <a:gd name="connsiteY5" fmla="*/ 26194 h 1477409"/>
              <a:gd name="connsiteX6" fmla="*/ 421482 w 1623138"/>
              <a:gd name="connsiteY6" fmla="*/ 0 h 1477409"/>
              <a:gd name="connsiteX7" fmla="*/ 595313 w 1623138"/>
              <a:gd name="connsiteY7" fmla="*/ 445294 h 1477409"/>
              <a:gd name="connsiteX8" fmla="*/ 923925 w 1623138"/>
              <a:gd name="connsiteY8" fmla="*/ 685799 h 1477409"/>
              <a:gd name="connsiteX9" fmla="*/ 621506 w 1623138"/>
              <a:gd name="connsiteY9" fmla="*/ 1031079 h 1477409"/>
              <a:gd name="connsiteX10" fmla="*/ 0 w 1623138"/>
              <a:gd name="connsiteY10" fmla="*/ 797716 h 1477409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652572"/>
              <a:gd name="connsiteX1" fmla="*/ 0 w 1623138"/>
              <a:gd name="connsiteY1" fmla="*/ 1647822 h 1652572"/>
              <a:gd name="connsiteX2" fmla="*/ 1574006 w 1623138"/>
              <a:gd name="connsiteY2" fmla="*/ 1302541 h 1652572"/>
              <a:gd name="connsiteX3" fmla="*/ 1264443 w 1623138"/>
              <a:gd name="connsiteY3" fmla="*/ 540542 h 1652572"/>
              <a:gd name="connsiteX4" fmla="*/ 835820 w 1623138"/>
              <a:gd name="connsiteY4" fmla="*/ 373856 h 1652572"/>
              <a:gd name="connsiteX5" fmla="*/ 807244 w 1623138"/>
              <a:gd name="connsiteY5" fmla="*/ 0 h 1652572"/>
              <a:gd name="connsiteX6" fmla="*/ 421482 w 1623138"/>
              <a:gd name="connsiteY6" fmla="*/ 321468 h 1652572"/>
              <a:gd name="connsiteX7" fmla="*/ 595313 w 1623138"/>
              <a:gd name="connsiteY7" fmla="*/ 766762 h 1652572"/>
              <a:gd name="connsiteX8" fmla="*/ 923925 w 1623138"/>
              <a:gd name="connsiteY8" fmla="*/ 1007267 h 1652572"/>
              <a:gd name="connsiteX9" fmla="*/ 621506 w 1623138"/>
              <a:gd name="connsiteY9" fmla="*/ 1352547 h 1652572"/>
              <a:gd name="connsiteX10" fmla="*/ 0 w 1623138"/>
              <a:gd name="connsiteY10" fmla="*/ 1119184 h 1652572"/>
              <a:gd name="connsiteX0" fmla="*/ 0 w 1627271"/>
              <a:gd name="connsiteY0" fmla="*/ 1119184 h 1712926"/>
              <a:gd name="connsiteX1" fmla="*/ 0 w 1627271"/>
              <a:gd name="connsiteY1" fmla="*/ 1647822 h 1712926"/>
              <a:gd name="connsiteX2" fmla="*/ 1574006 w 1627271"/>
              <a:gd name="connsiteY2" fmla="*/ 1302541 h 1712926"/>
              <a:gd name="connsiteX3" fmla="*/ 1264443 w 1627271"/>
              <a:gd name="connsiteY3" fmla="*/ 540542 h 1712926"/>
              <a:gd name="connsiteX4" fmla="*/ 835820 w 1627271"/>
              <a:gd name="connsiteY4" fmla="*/ 373856 h 1712926"/>
              <a:gd name="connsiteX5" fmla="*/ 807244 w 1627271"/>
              <a:gd name="connsiteY5" fmla="*/ 0 h 1712926"/>
              <a:gd name="connsiteX6" fmla="*/ 421482 w 1627271"/>
              <a:gd name="connsiteY6" fmla="*/ 321468 h 1712926"/>
              <a:gd name="connsiteX7" fmla="*/ 595313 w 1627271"/>
              <a:gd name="connsiteY7" fmla="*/ 766762 h 1712926"/>
              <a:gd name="connsiteX8" fmla="*/ 923925 w 1627271"/>
              <a:gd name="connsiteY8" fmla="*/ 1007267 h 1712926"/>
              <a:gd name="connsiteX9" fmla="*/ 621506 w 1627271"/>
              <a:gd name="connsiteY9" fmla="*/ 1352547 h 1712926"/>
              <a:gd name="connsiteX10" fmla="*/ 0 w 1627271"/>
              <a:gd name="connsiteY10" fmla="*/ 1119184 h 1712926"/>
              <a:gd name="connsiteX0" fmla="*/ 0 w 1627271"/>
              <a:gd name="connsiteY0" fmla="*/ 1119184 h 1797816"/>
              <a:gd name="connsiteX1" fmla="*/ 0 w 1627271"/>
              <a:gd name="connsiteY1" fmla="*/ 1647822 h 1797816"/>
              <a:gd name="connsiteX2" fmla="*/ 1574006 w 1627271"/>
              <a:gd name="connsiteY2" fmla="*/ 1302541 h 1797816"/>
              <a:gd name="connsiteX3" fmla="*/ 1264443 w 1627271"/>
              <a:gd name="connsiteY3" fmla="*/ 540542 h 1797816"/>
              <a:gd name="connsiteX4" fmla="*/ 835820 w 1627271"/>
              <a:gd name="connsiteY4" fmla="*/ 373856 h 1797816"/>
              <a:gd name="connsiteX5" fmla="*/ 807244 w 1627271"/>
              <a:gd name="connsiteY5" fmla="*/ 0 h 1797816"/>
              <a:gd name="connsiteX6" fmla="*/ 421482 w 1627271"/>
              <a:gd name="connsiteY6" fmla="*/ 321468 h 1797816"/>
              <a:gd name="connsiteX7" fmla="*/ 595313 w 1627271"/>
              <a:gd name="connsiteY7" fmla="*/ 766762 h 1797816"/>
              <a:gd name="connsiteX8" fmla="*/ 923925 w 1627271"/>
              <a:gd name="connsiteY8" fmla="*/ 1007267 h 1797816"/>
              <a:gd name="connsiteX9" fmla="*/ 621506 w 1627271"/>
              <a:gd name="connsiteY9" fmla="*/ 1352547 h 1797816"/>
              <a:gd name="connsiteX10" fmla="*/ 0 w 1627271"/>
              <a:gd name="connsiteY10" fmla="*/ 1119184 h 1797816"/>
              <a:gd name="connsiteX0" fmla="*/ 0 w 1622231"/>
              <a:gd name="connsiteY0" fmla="*/ 1119184 h 1773253"/>
              <a:gd name="connsiteX1" fmla="*/ 0 w 1622231"/>
              <a:gd name="connsiteY1" fmla="*/ 1647822 h 1773253"/>
              <a:gd name="connsiteX2" fmla="*/ 1574006 w 1622231"/>
              <a:gd name="connsiteY2" fmla="*/ 1302541 h 1773253"/>
              <a:gd name="connsiteX3" fmla="*/ 1264443 w 1622231"/>
              <a:gd name="connsiteY3" fmla="*/ 540542 h 1773253"/>
              <a:gd name="connsiteX4" fmla="*/ 835820 w 1622231"/>
              <a:gd name="connsiteY4" fmla="*/ 373856 h 1773253"/>
              <a:gd name="connsiteX5" fmla="*/ 807244 w 1622231"/>
              <a:gd name="connsiteY5" fmla="*/ 0 h 1773253"/>
              <a:gd name="connsiteX6" fmla="*/ 421482 w 1622231"/>
              <a:gd name="connsiteY6" fmla="*/ 321468 h 1773253"/>
              <a:gd name="connsiteX7" fmla="*/ 595313 w 1622231"/>
              <a:gd name="connsiteY7" fmla="*/ 766762 h 1773253"/>
              <a:gd name="connsiteX8" fmla="*/ 923925 w 1622231"/>
              <a:gd name="connsiteY8" fmla="*/ 1007267 h 1773253"/>
              <a:gd name="connsiteX9" fmla="*/ 621506 w 1622231"/>
              <a:gd name="connsiteY9" fmla="*/ 1352547 h 1773253"/>
              <a:gd name="connsiteX10" fmla="*/ 0 w 1622231"/>
              <a:gd name="connsiteY10" fmla="*/ 1119184 h 1773253"/>
              <a:gd name="connsiteX0" fmla="*/ 0 w 1622231"/>
              <a:gd name="connsiteY0" fmla="*/ 1119184 h 1800701"/>
              <a:gd name="connsiteX1" fmla="*/ 0 w 1622231"/>
              <a:gd name="connsiteY1" fmla="*/ 1647822 h 1800701"/>
              <a:gd name="connsiteX2" fmla="*/ 1574006 w 1622231"/>
              <a:gd name="connsiteY2" fmla="*/ 1302541 h 1800701"/>
              <a:gd name="connsiteX3" fmla="*/ 1264443 w 1622231"/>
              <a:gd name="connsiteY3" fmla="*/ 540542 h 1800701"/>
              <a:gd name="connsiteX4" fmla="*/ 835820 w 1622231"/>
              <a:gd name="connsiteY4" fmla="*/ 373856 h 1800701"/>
              <a:gd name="connsiteX5" fmla="*/ 807244 w 1622231"/>
              <a:gd name="connsiteY5" fmla="*/ 0 h 1800701"/>
              <a:gd name="connsiteX6" fmla="*/ 421482 w 1622231"/>
              <a:gd name="connsiteY6" fmla="*/ 321468 h 1800701"/>
              <a:gd name="connsiteX7" fmla="*/ 595313 w 1622231"/>
              <a:gd name="connsiteY7" fmla="*/ 766762 h 1800701"/>
              <a:gd name="connsiteX8" fmla="*/ 923925 w 1622231"/>
              <a:gd name="connsiteY8" fmla="*/ 1007267 h 1800701"/>
              <a:gd name="connsiteX9" fmla="*/ 621506 w 1622231"/>
              <a:gd name="connsiteY9" fmla="*/ 1352547 h 1800701"/>
              <a:gd name="connsiteX10" fmla="*/ 0 w 1622231"/>
              <a:gd name="connsiteY10" fmla="*/ 1119184 h 1800701"/>
              <a:gd name="connsiteX0" fmla="*/ 0 w 1552023"/>
              <a:gd name="connsiteY0" fmla="*/ 1119184 h 1859749"/>
              <a:gd name="connsiteX1" fmla="*/ 0 w 1552023"/>
              <a:gd name="connsiteY1" fmla="*/ 1647822 h 1859749"/>
              <a:gd name="connsiteX2" fmla="*/ 1462087 w 1552023"/>
              <a:gd name="connsiteY2" fmla="*/ 1469229 h 1859749"/>
              <a:gd name="connsiteX3" fmla="*/ 1264443 w 1552023"/>
              <a:gd name="connsiteY3" fmla="*/ 540542 h 1859749"/>
              <a:gd name="connsiteX4" fmla="*/ 835820 w 1552023"/>
              <a:gd name="connsiteY4" fmla="*/ 373856 h 1859749"/>
              <a:gd name="connsiteX5" fmla="*/ 807244 w 1552023"/>
              <a:gd name="connsiteY5" fmla="*/ 0 h 1859749"/>
              <a:gd name="connsiteX6" fmla="*/ 421482 w 1552023"/>
              <a:gd name="connsiteY6" fmla="*/ 321468 h 1859749"/>
              <a:gd name="connsiteX7" fmla="*/ 595313 w 1552023"/>
              <a:gd name="connsiteY7" fmla="*/ 766762 h 1859749"/>
              <a:gd name="connsiteX8" fmla="*/ 923925 w 1552023"/>
              <a:gd name="connsiteY8" fmla="*/ 1007267 h 1859749"/>
              <a:gd name="connsiteX9" fmla="*/ 621506 w 1552023"/>
              <a:gd name="connsiteY9" fmla="*/ 1352547 h 1859749"/>
              <a:gd name="connsiteX10" fmla="*/ 0 w 1552023"/>
              <a:gd name="connsiteY10" fmla="*/ 1119184 h 1859749"/>
              <a:gd name="connsiteX0" fmla="*/ 0 w 1571973"/>
              <a:gd name="connsiteY0" fmla="*/ 1119184 h 1800114"/>
              <a:gd name="connsiteX1" fmla="*/ 0 w 1571973"/>
              <a:gd name="connsiteY1" fmla="*/ 1647822 h 1800114"/>
              <a:gd name="connsiteX2" fmla="*/ 1462087 w 1571973"/>
              <a:gd name="connsiteY2" fmla="*/ 1469229 h 1800114"/>
              <a:gd name="connsiteX3" fmla="*/ 1264443 w 1571973"/>
              <a:gd name="connsiteY3" fmla="*/ 540542 h 1800114"/>
              <a:gd name="connsiteX4" fmla="*/ 835820 w 1571973"/>
              <a:gd name="connsiteY4" fmla="*/ 373856 h 1800114"/>
              <a:gd name="connsiteX5" fmla="*/ 807244 w 1571973"/>
              <a:gd name="connsiteY5" fmla="*/ 0 h 1800114"/>
              <a:gd name="connsiteX6" fmla="*/ 421482 w 1571973"/>
              <a:gd name="connsiteY6" fmla="*/ 321468 h 1800114"/>
              <a:gd name="connsiteX7" fmla="*/ 595313 w 1571973"/>
              <a:gd name="connsiteY7" fmla="*/ 766762 h 1800114"/>
              <a:gd name="connsiteX8" fmla="*/ 923925 w 1571973"/>
              <a:gd name="connsiteY8" fmla="*/ 1007267 h 1800114"/>
              <a:gd name="connsiteX9" fmla="*/ 621506 w 1571973"/>
              <a:gd name="connsiteY9" fmla="*/ 1352547 h 1800114"/>
              <a:gd name="connsiteX10" fmla="*/ 0 w 1571973"/>
              <a:gd name="connsiteY10" fmla="*/ 1119184 h 1800114"/>
              <a:gd name="connsiteX0" fmla="*/ 0 w 1620477"/>
              <a:gd name="connsiteY0" fmla="*/ 1119184 h 1800815"/>
              <a:gd name="connsiteX1" fmla="*/ 0 w 1620477"/>
              <a:gd name="connsiteY1" fmla="*/ 1647822 h 1800815"/>
              <a:gd name="connsiteX2" fmla="*/ 1462087 w 1620477"/>
              <a:gd name="connsiteY2" fmla="*/ 1469229 h 1800815"/>
              <a:gd name="connsiteX3" fmla="*/ 1264443 w 1620477"/>
              <a:gd name="connsiteY3" fmla="*/ 540542 h 1800815"/>
              <a:gd name="connsiteX4" fmla="*/ 835820 w 1620477"/>
              <a:gd name="connsiteY4" fmla="*/ 373856 h 1800815"/>
              <a:gd name="connsiteX5" fmla="*/ 807244 w 1620477"/>
              <a:gd name="connsiteY5" fmla="*/ 0 h 1800815"/>
              <a:gd name="connsiteX6" fmla="*/ 421482 w 1620477"/>
              <a:gd name="connsiteY6" fmla="*/ 321468 h 1800815"/>
              <a:gd name="connsiteX7" fmla="*/ 595313 w 1620477"/>
              <a:gd name="connsiteY7" fmla="*/ 766762 h 1800815"/>
              <a:gd name="connsiteX8" fmla="*/ 923925 w 1620477"/>
              <a:gd name="connsiteY8" fmla="*/ 1007267 h 1800815"/>
              <a:gd name="connsiteX9" fmla="*/ 621506 w 1620477"/>
              <a:gd name="connsiteY9" fmla="*/ 1352547 h 1800815"/>
              <a:gd name="connsiteX10" fmla="*/ 0 w 1620477"/>
              <a:gd name="connsiteY10" fmla="*/ 1119184 h 1800815"/>
              <a:gd name="connsiteX0" fmla="*/ 0 w 1629436"/>
              <a:gd name="connsiteY0" fmla="*/ 1119184 h 1799377"/>
              <a:gd name="connsiteX1" fmla="*/ 0 w 1629436"/>
              <a:gd name="connsiteY1" fmla="*/ 1647822 h 1799377"/>
              <a:gd name="connsiteX2" fmla="*/ 1476374 w 1629436"/>
              <a:gd name="connsiteY2" fmla="*/ 1464467 h 1799377"/>
              <a:gd name="connsiteX3" fmla="*/ 1264443 w 1629436"/>
              <a:gd name="connsiteY3" fmla="*/ 540542 h 1799377"/>
              <a:gd name="connsiteX4" fmla="*/ 835820 w 1629436"/>
              <a:gd name="connsiteY4" fmla="*/ 373856 h 1799377"/>
              <a:gd name="connsiteX5" fmla="*/ 807244 w 1629436"/>
              <a:gd name="connsiteY5" fmla="*/ 0 h 1799377"/>
              <a:gd name="connsiteX6" fmla="*/ 421482 w 1629436"/>
              <a:gd name="connsiteY6" fmla="*/ 321468 h 1799377"/>
              <a:gd name="connsiteX7" fmla="*/ 595313 w 1629436"/>
              <a:gd name="connsiteY7" fmla="*/ 766762 h 1799377"/>
              <a:gd name="connsiteX8" fmla="*/ 923925 w 1629436"/>
              <a:gd name="connsiteY8" fmla="*/ 1007267 h 1799377"/>
              <a:gd name="connsiteX9" fmla="*/ 621506 w 1629436"/>
              <a:gd name="connsiteY9" fmla="*/ 1352547 h 1799377"/>
              <a:gd name="connsiteX10" fmla="*/ 0 w 1629436"/>
              <a:gd name="connsiteY10" fmla="*/ 1119184 h 1799377"/>
              <a:gd name="connsiteX0" fmla="*/ 0 w 1606110"/>
              <a:gd name="connsiteY0" fmla="*/ 1119184 h 1796213"/>
              <a:gd name="connsiteX1" fmla="*/ 0 w 1606110"/>
              <a:gd name="connsiteY1" fmla="*/ 1647822 h 1796213"/>
              <a:gd name="connsiteX2" fmla="*/ 1476374 w 1606110"/>
              <a:gd name="connsiteY2" fmla="*/ 1464467 h 1796213"/>
              <a:gd name="connsiteX3" fmla="*/ 1264443 w 1606110"/>
              <a:gd name="connsiteY3" fmla="*/ 540542 h 1796213"/>
              <a:gd name="connsiteX4" fmla="*/ 835820 w 1606110"/>
              <a:gd name="connsiteY4" fmla="*/ 373856 h 1796213"/>
              <a:gd name="connsiteX5" fmla="*/ 807244 w 1606110"/>
              <a:gd name="connsiteY5" fmla="*/ 0 h 1796213"/>
              <a:gd name="connsiteX6" fmla="*/ 421482 w 1606110"/>
              <a:gd name="connsiteY6" fmla="*/ 321468 h 1796213"/>
              <a:gd name="connsiteX7" fmla="*/ 595313 w 1606110"/>
              <a:gd name="connsiteY7" fmla="*/ 766762 h 1796213"/>
              <a:gd name="connsiteX8" fmla="*/ 923925 w 1606110"/>
              <a:gd name="connsiteY8" fmla="*/ 1007267 h 1796213"/>
              <a:gd name="connsiteX9" fmla="*/ 621506 w 1606110"/>
              <a:gd name="connsiteY9" fmla="*/ 1352547 h 1796213"/>
              <a:gd name="connsiteX10" fmla="*/ 0 w 1606110"/>
              <a:gd name="connsiteY10" fmla="*/ 1119184 h 1796213"/>
              <a:gd name="connsiteX0" fmla="*/ 0 w 1625337"/>
              <a:gd name="connsiteY0" fmla="*/ 1119184 h 1796213"/>
              <a:gd name="connsiteX1" fmla="*/ 0 w 1625337"/>
              <a:gd name="connsiteY1" fmla="*/ 1647822 h 1796213"/>
              <a:gd name="connsiteX2" fmla="*/ 1476374 w 1625337"/>
              <a:gd name="connsiteY2" fmla="*/ 1464467 h 1796213"/>
              <a:gd name="connsiteX3" fmla="*/ 1264443 w 1625337"/>
              <a:gd name="connsiteY3" fmla="*/ 540542 h 1796213"/>
              <a:gd name="connsiteX4" fmla="*/ 835820 w 1625337"/>
              <a:gd name="connsiteY4" fmla="*/ 373856 h 1796213"/>
              <a:gd name="connsiteX5" fmla="*/ 807244 w 1625337"/>
              <a:gd name="connsiteY5" fmla="*/ 0 h 1796213"/>
              <a:gd name="connsiteX6" fmla="*/ 421482 w 1625337"/>
              <a:gd name="connsiteY6" fmla="*/ 321468 h 1796213"/>
              <a:gd name="connsiteX7" fmla="*/ 595313 w 1625337"/>
              <a:gd name="connsiteY7" fmla="*/ 766762 h 1796213"/>
              <a:gd name="connsiteX8" fmla="*/ 923925 w 1625337"/>
              <a:gd name="connsiteY8" fmla="*/ 1007267 h 1796213"/>
              <a:gd name="connsiteX9" fmla="*/ 621506 w 1625337"/>
              <a:gd name="connsiteY9" fmla="*/ 1352547 h 1796213"/>
              <a:gd name="connsiteX10" fmla="*/ 0 w 1625337"/>
              <a:gd name="connsiteY10" fmla="*/ 1119184 h 1796213"/>
              <a:gd name="connsiteX0" fmla="*/ 0 w 1625337"/>
              <a:gd name="connsiteY0" fmla="*/ 1119184 h 1803595"/>
              <a:gd name="connsiteX1" fmla="*/ 0 w 1625337"/>
              <a:gd name="connsiteY1" fmla="*/ 1647822 h 1803595"/>
              <a:gd name="connsiteX2" fmla="*/ 1476374 w 1625337"/>
              <a:gd name="connsiteY2" fmla="*/ 1464467 h 1803595"/>
              <a:gd name="connsiteX3" fmla="*/ 1264443 w 1625337"/>
              <a:gd name="connsiteY3" fmla="*/ 540542 h 1803595"/>
              <a:gd name="connsiteX4" fmla="*/ 835820 w 1625337"/>
              <a:gd name="connsiteY4" fmla="*/ 373856 h 1803595"/>
              <a:gd name="connsiteX5" fmla="*/ 807244 w 1625337"/>
              <a:gd name="connsiteY5" fmla="*/ 0 h 1803595"/>
              <a:gd name="connsiteX6" fmla="*/ 421482 w 1625337"/>
              <a:gd name="connsiteY6" fmla="*/ 321468 h 1803595"/>
              <a:gd name="connsiteX7" fmla="*/ 595313 w 1625337"/>
              <a:gd name="connsiteY7" fmla="*/ 766762 h 1803595"/>
              <a:gd name="connsiteX8" fmla="*/ 923925 w 1625337"/>
              <a:gd name="connsiteY8" fmla="*/ 1007267 h 1803595"/>
              <a:gd name="connsiteX9" fmla="*/ 621506 w 1625337"/>
              <a:gd name="connsiteY9" fmla="*/ 1352547 h 1803595"/>
              <a:gd name="connsiteX10" fmla="*/ 0 w 1625337"/>
              <a:gd name="connsiteY10" fmla="*/ 1119184 h 1803595"/>
              <a:gd name="connsiteX0" fmla="*/ 0 w 1625337"/>
              <a:gd name="connsiteY0" fmla="*/ 1119184 h 1799376"/>
              <a:gd name="connsiteX1" fmla="*/ 0 w 1625337"/>
              <a:gd name="connsiteY1" fmla="*/ 1647822 h 1799376"/>
              <a:gd name="connsiteX2" fmla="*/ 1476374 w 1625337"/>
              <a:gd name="connsiteY2" fmla="*/ 1464467 h 1799376"/>
              <a:gd name="connsiteX3" fmla="*/ 1264443 w 1625337"/>
              <a:gd name="connsiteY3" fmla="*/ 540542 h 1799376"/>
              <a:gd name="connsiteX4" fmla="*/ 835820 w 1625337"/>
              <a:gd name="connsiteY4" fmla="*/ 373856 h 1799376"/>
              <a:gd name="connsiteX5" fmla="*/ 807244 w 1625337"/>
              <a:gd name="connsiteY5" fmla="*/ 0 h 1799376"/>
              <a:gd name="connsiteX6" fmla="*/ 421482 w 1625337"/>
              <a:gd name="connsiteY6" fmla="*/ 321468 h 1799376"/>
              <a:gd name="connsiteX7" fmla="*/ 595313 w 1625337"/>
              <a:gd name="connsiteY7" fmla="*/ 766762 h 1799376"/>
              <a:gd name="connsiteX8" fmla="*/ 923925 w 1625337"/>
              <a:gd name="connsiteY8" fmla="*/ 1007267 h 1799376"/>
              <a:gd name="connsiteX9" fmla="*/ 621506 w 1625337"/>
              <a:gd name="connsiteY9" fmla="*/ 1352547 h 1799376"/>
              <a:gd name="connsiteX10" fmla="*/ 0 w 1625337"/>
              <a:gd name="connsiteY10" fmla="*/ 1119184 h 1799376"/>
              <a:gd name="connsiteX0" fmla="*/ 0 w 1635914"/>
              <a:gd name="connsiteY0" fmla="*/ 1119184 h 1799376"/>
              <a:gd name="connsiteX1" fmla="*/ 0 w 1635914"/>
              <a:gd name="connsiteY1" fmla="*/ 1647822 h 1799376"/>
              <a:gd name="connsiteX2" fmla="*/ 1476374 w 1635914"/>
              <a:gd name="connsiteY2" fmla="*/ 1464467 h 1799376"/>
              <a:gd name="connsiteX3" fmla="*/ 1264443 w 1635914"/>
              <a:gd name="connsiteY3" fmla="*/ 540542 h 1799376"/>
              <a:gd name="connsiteX4" fmla="*/ 835820 w 1635914"/>
              <a:gd name="connsiteY4" fmla="*/ 373856 h 1799376"/>
              <a:gd name="connsiteX5" fmla="*/ 807244 w 1635914"/>
              <a:gd name="connsiteY5" fmla="*/ 0 h 1799376"/>
              <a:gd name="connsiteX6" fmla="*/ 421482 w 1635914"/>
              <a:gd name="connsiteY6" fmla="*/ 321468 h 1799376"/>
              <a:gd name="connsiteX7" fmla="*/ 595313 w 1635914"/>
              <a:gd name="connsiteY7" fmla="*/ 766762 h 1799376"/>
              <a:gd name="connsiteX8" fmla="*/ 923925 w 1635914"/>
              <a:gd name="connsiteY8" fmla="*/ 1007267 h 1799376"/>
              <a:gd name="connsiteX9" fmla="*/ 621506 w 1635914"/>
              <a:gd name="connsiteY9" fmla="*/ 1352547 h 1799376"/>
              <a:gd name="connsiteX10" fmla="*/ 0 w 1635914"/>
              <a:gd name="connsiteY10" fmla="*/ 1119184 h 1799376"/>
              <a:gd name="connsiteX0" fmla="*/ 0 w 1720482"/>
              <a:gd name="connsiteY0" fmla="*/ 1119184 h 1772537"/>
              <a:gd name="connsiteX1" fmla="*/ 0 w 1720482"/>
              <a:gd name="connsiteY1" fmla="*/ 1647822 h 1772537"/>
              <a:gd name="connsiteX2" fmla="*/ 1476374 w 1720482"/>
              <a:gd name="connsiteY2" fmla="*/ 1464467 h 1772537"/>
              <a:gd name="connsiteX3" fmla="*/ 1397793 w 1720482"/>
              <a:gd name="connsiteY3" fmla="*/ 626267 h 1772537"/>
              <a:gd name="connsiteX4" fmla="*/ 835820 w 1720482"/>
              <a:gd name="connsiteY4" fmla="*/ 373856 h 1772537"/>
              <a:gd name="connsiteX5" fmla="*/ 807244 w 1720482"/>
              <a:gd name="connsiteY5" fmla="*/ 0 h 1772537"/>
              <a:gd name="connsiteX6" fmla="*/ 421482 w 1720482"/>
              <a:gd name="connsiteY6" fmla="*/ 321468 h 1772537"/>
              <a:gd name="connsiteX7" fmla="*/ 595313 w 1720482"/>
              <a:gd name="connsiteY7" fmla="*/ 766762 h 1772537"/>
              <a:gd name="connsiteX8" fmla="*/ 923925 w 1720482"/>
              <a:gd name="connsiteY8" fmla="*/ 1007267 h 1772537"/>
              <a:gd name="connsiteX9" fmla="*/ 621506 w 1720482"/>
              <a:gd name="connsiteY9" fmla="*/ 1352547 h 1772537"/>
              <a:gd name="connsiteX10" fmla="*/ 0 w 1720482"/>
              <a:gd name="connsiteY10" fmla="*/ 1119184 h 1772537"/>
              <a:gd name="connsiteX0" fmla="*/ 0 w 1630664"/>
              <a:gd name="connsiteY0" fmla="*/ 1119184 h 1772537"/>
              <a:gd name="connsiteX1" fmla="*/ 0 w 1630664"/>
              <a:gd name="connsiteY1" fmla="*/ 1647822 h 1772537"/>
              <a:gd name="connsiteX2" fmla="*/ 1476374 w 1630664"/>
              <a:gd name="connsiteY2" fmla="*/ 1464467 h 1772537"/>
              <a:gd name="connsiteX3" fmla="*/ 1397793 w 1630664"/>
              <a:gd name="connsiteY3" fmla="*/ 626267 h 1772537"/>
              <a:gd name="connsiteX4" fmla="*/ 835820 w 1630664"/>
              <a:gd name="connsiteY4" fmla="*/ 373856 h 1772537"/>
              <a:gd name="connsiteX5" fmla="*/ 807244 w 1630664"/>
              <a:gd name="connsiteY5" fmla="*/ 0 h 1772537"/>
              <a:gd name="connsiteX6" fmla="*/ 421482 w 1630664"/>
              <a:gd name="connsiteY6" fmla="*/ 321468 h 1772537"/>
              <a:gd name="connsiteX7" fmla="*/ 595313 w 1630664"/>
              <a:gd name="connsiteY7" fmla="*/ 766762 h 1772537"/>
              <a:gd name="connsiteX8" fmla="*/ 923925 w 1630664"/>
              <a:gd name="connsiteY8" fmla="*/ 1007267 h 1772537"/>
              <a:gd name="connsiteX9" fmla="*/ 621506 w 1630664"/>
              <a:gd name="connsiteY9" fmla="*/ 1352547 h 1772537"/>
              <a:gd name="connsiteX10" fmla="*/ 0 w 1630664"/>
              <a:gd name="connsiteY10" fmla="*/ 1119184 h 1772537"/>
              <a:gd name="connsiteX0" fmla="*/ 0 w 1615856"/>
              <a:gd name="connsiteY0" fmla="*/ 1119184 h 1800557"/>
              <a:gd name="connsiteX1" fmla="*/ 0 w 1615856"/>
              <a:gd name="connsiteY1" fmla="*/ 1647822 h 1800557"/>
              <a:gd name="connsiteX2" fmla="*/ 1476374 w 1615856"/>
              <a:gd name="connsiteY2" fmla="*/ 1464467 h 1800557"/>
              <a:gd name="connsiteX3" fmla="*/ 1397793 w 1615856"/>
              <a:gd name="connsiteY3" fmla="*/ 626267 h 1800557"/>
              <a:gd name="connsiteX4" fmla="*/ 835820 w 1615856"/>
              <a:gd name="connsiteY4" fmla="*/ 373856 h 1800557"/>
              <a:gd name="connsiteX5" fmla="*/ 807244 w 1615856"/>
              <a:gd name="connsiteY5" fmla="*/ 0 h 1800557"/>
              <a:gd name="connsiteX6" fmla="*/ 421482 w 1615856"/>
              <a:gd name="connsiteY6" fmla="*/ 321468 h 1800557"/>
              <a:gd name="connsiteX7" fmla="*/ 595313 w 1615856"/>
              <a:gd name="connsiteY7" fmla="*/ 766762 h 1800557"/>
              <a:gd name="connsiteX8" fmla="*/ 923925 w 1615856"/>
              <a:gd name="connsiteY8" fmla="*/ 1007267 h 1800557"/>
              <a:gd name="connsiteX9" fmla="*/ 621506 w 1615856"/>
              <a:gd name="connsiteY9" fmla="*/ 1352547 h 1800557"/>
              <a:gd name="connsiteX10" fmla="*/ 0 w 1615856"/>
              <a:gd name="connsiteY10" fmla="*/ 1119184 h 1800557"/>
              <a:gd name="connsiteX0" fmla="*/ 0 w 1626496"/>
              <a:gd name="connsiteY0" fmla="*/ 1119184 h 1800277"/>
              <a:gd name="connsiteX1" fmla="*/ 0 w 1626496"/>
              <a:gd name="connsiteY1" fmla="*/ 1647822 h 1800277"/>
              <a:gd name="connsiteX2" fmla="*/ 1476374 w 1626496"/>
              <a:gd name="connsiteY2" fmla="*/ 1464467 h 1800277"/>
              <a:gd name="connsiteX3" fmla="*/ 1397793 w 1626496"/>
              <a:gd name="connsiteY3" fmla="*/ 626267 h 1800277"/>
              <a:gd name="connsiteX4" fmla="*/ 835820 w 1626496"/>
              <a:gd name="connsiteY4" fmla="*/ 373856 h 1800277"/>
              <a:gd name="connsiteX5" fmla="*/ 807244 w 1626496"/>
              <a:gd name="connsiteY5" fmla="*/ 0 h 1800277"/>
              <a:gd name="connsiteX6" fmla="*/ 421482 w 1626496"/>
              <a:gd name="connsiteY6" fmla="*/ 321468 h 1800277"/>
              <a:gd name="connsiteX7" fmla="*/ 595313 w 1626496"/>
              <a:gd name="connsiteY7" fmla="*/ 766762 h 1800277"/>
              <a:gd name="connsiteX8" fmla="*/ 923925 w 1626496"/>
              <a:gd name="connsiteY8" fmla="*/ 1007267 h 1800277"/>
              <a:gd name="connsiteX9" fmla="*/ 621506 w 1626496"/>
              <a:gd name="connsiteY9" fmla="*/ 1352547 h 1800277"/>
              <a:gd name="connsiteX10" fmla="*/ 0 w 1626496"/>
              <a:gd name="connsiteY10" fmla="*/ 1119184 h 1800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626496" h="1800277">
                <a:moveTo>
                  <a:pt x="0" y="1119184"/>
                </a:moveTo>
                <a:lnTo>
                  <a:pt x="0" y="1647822"/>
                </a:lnTo>
                <a:cubicBezTo>
                  <a:pt x="686196" y="1947462"/>
                  <a:pt x="1196953" y="1762179"/>
                  <a:pt x="1476374" y="1464467"/>
                </a:cubicBezTo>
                <a:cubicBezTo>
                  <a:pt x="1699180" y="1227076"/>
                  <a:pt x="1674781" y="817990"/>
                  <a:pt x="1397793" y="626267"/>
                </a:cubicBezTo>
                <a:cubicBezTo>
                  <a:pt x="1228944" y="509394"/>
                  <a:pt x="1023144" y="457993"/>
                  <a:pt x="835820" y="373856"/>
                </a:cubicBezTo>
                <a:cubicBezTo>
                  <a:pt x="676275" y="325437"/>
                  <a:pt x="542926" y="112711"/>
                  <a:pt x="807244" y="0"/>
                </a:cubicBezTo>
                <a:cubicBezTo>
                  <a:pt x="507207" y="50006"/>
                  <a:pt x="440530" y="235745"/>
                  <a:pt x="421482" y="321468"/>
                </a:cubicBezTo>
                <a:cubicBezTo>
                  <a:pt x="362745" y="574674"/>
                  <a:pt x="546894" y="723107"/>
                  <a:pt x="595313" y="766762"/>
                </a:cubicBezTo>
                <a:cubicBezTo>
                  <a:pt x="664369" y="835024"/>
                  <a:pt x="857250" y="884236"/>
                  <a:pt x="923925" y="1007267"/>
                </a:cubicBezTo>
                <a:cubicBezTo>
                  <a:pt x="992188" y="1158079"/>
                  <a:pt x="883541" y="1334500"/>
                  <a:pt x="621506" y="1352547"/>
                </a:cubicBezTo>
                <a:cubicBezTo>
                  <a:pt x="455755" y="1363963"/>
                  <a:pt x="205977" y="1265235"/>
                  <a:pt x="0" y="1119184"/>
                </a:cubicBezTo>
                <a:close/>
              </a:path>
            </a:pathLst>
          </a:custGeom>
          <a:solidFill>
            <a:srgbClr val="0F238D"/>
          </a:solidFill>
          <a:ln w="127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sp>
        <p:nvSpPr>
          <p:cNvPr id="42" name="Freeform 41"/>
          <p:cNvSpPr/>
          <p:nvPr userDrawn="1"/>
        </p:nvSpPr>
        <p:spPr>
          <a:xfrm>
            <a:off x="8504651" y="159540"/>
            <a:ext cx="118940" cy="68882"/>
          </a:xfrm>
          <a:custGeom>
            <a:avLst/>
            <a:gdLst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13690"/>
              <a:gd name="connsiteY0" fmla="*/ 635794 h 788194"/>
              <a:gd name="connsiteX1" fmla="*/ 1402556 w 1413690"/>
              <a:gd name="connsiteY1" fmla="*/ 64294 h 788194"/>
              <a:gd name="connsiteX2" fmla="*/ 547687 w 1413690"/>
              <a:gd name="connsiteY2" fmla="*/ 0 h 788194"/>
              <a:gd name="connsiteX3" fmla="*/ 14287 w 1413690"/>
              <a:gd name="connsiteY3" fmla="*/ 469106 h 788194"/>
              <a:gd name="connsiteX4" fmla="*/ 0 w 1413690"/>
              <a:gd name="connsiteY4" fmla="*/ 788194 h 788194"/>
              <a:gd name="connsiteX5" fmla="*/ 283368 w 1413690"/>
              <a:gd name="connsiteY5" fmla="*/ 438150 h 788194"/>
              <a:gd name="connsiteX6" fmla="*/ 821531 w 1413690"/>
              <a:gd name="connsiteY6" fmla="*/ 371475 h 788194"/>
              <a:gd name="connsiteX7" fmla="*/ 1404937 w 1413690"/>
              <a:gd name="connsiteY7" fmla="*/ 635794 h 788194"/>
              <a:gd name="connsiteX0" fmla="*/ 1404937 w 1417413"/>
              <a:gd name="connsiteY0" fmla="*/ 635794 h 788194"/>
              <a:gd name="connsiteX1" fmla="*/ 1402556 w 1417413"/>
              <a:gd name="connsiteY1" fmla="*/ 64294 h 788194"/>
              <a:gd name="connsiteX2" fmla="*/ 547687 w 1417413"/>
              <a:gd name="connsiteY2" fmla="*/ 0 h 788194"/>
              <a:gd name="connsiteX3" fmla="*/ 14287 w 1417413"/>
              <a:gd name="connsiteY3" fmla="*/ 469106 h 788194"/>
              <a:gd name="connsiteX4" fmla="*/ 0 w 1417413"/>
              <a:gd name="connsiteY4" fmla="*/ 788194 h 788194"/>
              <a:gd name="connsiteX5" fmla="*/ 283368 w 1417413"/>
              <a:gd name="connsiteY5" fmla="*/ 438150 h 788194"/>
              <a:gd name="connsiteX6" fmla="*/ 821531 w 1417413"/>
              <a:gd name="connsiteY6" fmla="*/ 371475 h 788194"/>
              <a:gd name="connsiteX7" fmla="*/ 1404937 w 1417413"/>
              <a:gd name="connsiteY7" fmla="*/ 635794 h 788194"/>
              <a:gd name="connsiteX0" fmla="*/ 1404937 w 1417413"/>
              <a:gd name="connsiteY0" fmla="*/ 636458 h 788858"/>
              <a:gd name="connsiteX1" fmla="*/ 1402556 w 1417413"/>
              <a:gd name="connsiteY1" fmla="*/ 64958 h 788858"/>
              <a:gd name="connsiteX2" fmla="*/ 547687 w 1417413"/>
              <a:gd name="connsiteY2" fmla="*/ 664 h 788858"/>
              <a:gd name="connsiteX3" fmla="*/ 14287 w 1417413"/>
              <a:gd name="connsiteY3" fmla="*/ 469770 h 788858"/>
              <a:gd name="connsiteX4" fmla="*/ 0 w 1417413"/>
              <a:gd name="connsiteY4" fmla="*/ 788858 h 788858"/>
              <a:gd name="connsiteX5" fmla="*/ 283368 w 1417413"/>
              <a:gd name="connsiteY5" fmla="*/ 438814 h 788858"/>
              <a:gd name="connsiteX6" fmla="*/ 821531 w 1417413"/>
              <a:gd name="connsiteY6" fmla="*/ 372139 h 788858"/>
              <a:gd name="connsiteX7" fmla="*/ 1404937 w 1417413"/>
              <a:gd name="connsiteY7" fmla="*/ 636458 h 788858"/>
              <a:gd name="connsiteX0" fmla="*/ 1404937 w 1417413"/>
              <a:gd name="connsiteY0" fmla="*/ 659983 h 812383"/>
              <a:gd name="connsiteX1" fmla="*/ 1402556 w 1417413"/>
              <a:gd name="connsiteY1" fmla="*/ 88483 h 812383"/>
              <a:gd name="connsiteX2" fmla="*/ 547687 w 1417413"/>
              <a:gd name="connsiteY2" fmla="*/ 24189 h 812383"/>
              <a:gd name="connsiteX3" fmla="*/ 14287 w 1417413"/>
              <a:gd name="connsiteY3" fmla="*/ 493295 h 812383"/>
              <a:gd name="connsiteX4" fmla="*/ 0 w 1417413"/>
              <a:gd name="connsiteY4" fmla="*/ 812383 h 812383"/>
              <a:gd name="connsiteX5" fmla="*/ 283368 w 1417413"/>
              <a:gd name="connsiteY5" fmla="*/ 462339 h 812383"/>
              <a:gd name="connsiteX6" fmla="*/ 821531 w 1417413"/>
              <a:gd name="connsiteY6" fmla="*/ 395664 h 812383"/>
              <a:gd name="connsiteX7" fmla="*/ 1404937 w 1417413"/>
              <a:gd name="connsiteY7" fmla="*/ 659983 h 812383"/>
              <a:gd name="connsiteX0" fmla="*/ 1404937 w 1417413"/>
              <a:gd name="connsiteY0" fmla="*/ 674932 h 827332"/>
              <a:gd name="connsiteX1" fmla="*/ 1402556 w 1417413"/>
              <a:gd name="connsiteY1" fmla="*/ 103432 h 827332"/>
              <a:gd name="connsiteX2" fmla="*/ 547687 w 1417413"/>
              <a:gd name="connsiteY2" fmla="*/ 39138 h 827332"/>
              <a:gd name="connsiteX3" fmla="*/ 14287 w 1417413"/>
              <a:gd name="connsiteY3" fmla="*/ 508244 h 827332"/>
              <a:gd name="connsiteX4" fmla="*/ 0 w 1417413"/>
              <a:gd name="connsiteY4" fmla="*/ 827332 h 827332"/>
              <a:gd name="connsiteX5" fmla="*/ 283368 w 1417413"/>
              <a:gd name="connsiteY5" fmla="*/ 477288 h 827332"/>
              <a:gd name="connsiteX6" fmla="*/ 821531 w 1417413"/>
              <a:gd name="connsiteY6" fmla="*/ 410613 h 827332"/>
              <a:gd name="connsiteX7" fmla="*/ 1404937 w 1417413"/>
              <a:gd name="connsiteY7" fmla="*/ 674932 h 827332"/>
              <a:gd name="connsiteX0" fmla="*/ 1404937 w 1417413"/>
              <a:gd name="connsiteY0" fmla="*/ 674932 h 827332"/>
              <a:gd name="connsiteX1" fmla="*/ 1402556 w 1417413"/>
              <a:gd name="connsiteY1" fmla="*/ 103432 h 827332"/>
              <a:gd name="connsiteX2" fmla="*/ 547687 w 1417413"/>
              <a:gd name="connsiteY2" fmla="*/ 39138 h 827332"/>
              <a:gd name="connsiteX3" fmla="*/ 14287 w 1417413"/>
              <a:gd name="connsiteY3" fmla="*/ 508244 h 827332"/>
              <a:gd name="connsiteX4" fmla="*/ 0 w 1417413"/>
              <a:gd name="connsiteY4" fmla="*/ 827332 h 827332"/>
              <a:gd name="connsiteX5" fmla="*/ 283368 w 1417413"/>
              <a:gd name="connsiteY5" fmla="*/ 477288 h 827332"/>
              <a:gd name="connsiteX6" fmla="*/ 821531 w 1417413"/>
              <a:gd name="connsiteY6" fmla="*/ 410613 h 827332"/>
              <a:gd name="connsiteX7" fmla="*/ 1404937 w 1417413"/>
              <a:gd name="connsiteY7" fmla="*/ 674932 h 827332"/>
              <a:gd name="connsiteX0" fmla="*/ 1406804 w 1419280"/>
              <a:gd name="connsiteY0" fmla="*/ 674932 h 827332"/>
              <a:gd name="connsiteX1" fmla="*/ 1404423 w 1419280"/>
              <a:gd name="connsiteY1" fmla="*/ 103432 h 827332"/>
              <a:gd name="connsiteX2" fmla="*/ 549554 w 1419280"/>
              <a:gd name="connsiteY2" fmla="*/ 39138 h 827332"/>
              <a:gd name="connsiteX3" fmla="*/ 16154 w 1419280"/>
              <a:gd name="connsiteY3" fmla="*/ 508244 h 827332"/>
              <a:gd name="connsiteX4" fmla="*/ 1867 w 1419280"/>
              <a:gd name="connsiteY4" fmla="*/ 827332 h 827332"/>
              <a:gd name="connsiteX5" fmla="*/ 285235 w 1419280"/>
              <a:gd name="connsiteY5" fmla="*/ 477288 h 827332"/>
              <a:gd name="connsiteX6" fmla="*/ 823398 w 1419280"/>
              <a:gd name="connsiteY6" fmla="*/ 410613 h 827332"/>
              <a:gd name="connsiteX7" fmla="*/ 1406804 w 1419280"/>
              <a:gd name="connsiteY7" fmla="*/ 674932 h 827332"/>
              <a:gd name="connsiteX0" fmla="*/ 1409119 w 1421595"/>
              <a:gd name="connsiteY0" fmla="*/ 674932 h 827332"/>
              <a:gd name="connsiteX1" fmla="*/ 1406738 w 1421595"/>
              <a:gd name="connsiteY1" fmla="*/ 103432 h 827332"/>
              <a:gd name="connsiteX2" fmla="*/ 551869 w 1421595"/>
              <a:gd name="connsiteY2" fmla="*/ 39138 h 827332"/>
              <a:gd name="connsiteX3" fmla="*/ 18469 w 1421595"/>
              <a:gd name="connsiteY3" fmla="*/ 508244 h 827332"/>
              <a:gd name="connsiteX4" fmla="*/ 4182 w 1421595"/>
              <a:gd name="connsiteY4" fmla="*/ 827332 h 827332"/>
              <a:gd name="connsiteX5" fmla="*/ 287550 w 1421595"/>
              <a:gd name="connsiteY5" fmla="*/ 477288 h 827332"/>
              <a:gd name="connsiteX6" fmla="*/ 825713 w 1421595"/>
              <a:gd name="connsiteY6" fmla="*/ 410613 h 827332"/>
              <a:gd name="connsiteX7" fmla="*/ 1409119 w 1421595"/>
              <a:gd name="connsiteY7" fmla="*/ 674932 h 827332"/>
              <a:gd name="connsiteX0" fmla="*/ 1417088 w 1429564"/>
              <a:gd name="connsiteY0" fmla="*/ 674932 h 827332"/>
              <a:gd name="connsiteX1" fmla="*/ 1414707 w 1429564"/>
              <a:gd name="connsiteY1" fmla="*/ 103432 h 827332"/>
              <a:gd name="connsiteX2" fmla="*/ 559838 w 1429564"/>
              <a:gd name="connsiteY2" fmla="*/ 39138 h 827332"/>
              <a:gd name="connsiteX3" fmla="*/ 26438 w 1429564"/>
              <a:gd name="connsiteY3" fmla="*/ 508244 h 827332"/>
              <a:gd name="connsiteX4" fmla="*/ 12151 w 1429564"/>
              <a:gd name="connsiteY4" fmla="*/ 827332 h 827332"/>
              <a:gd name="connsiteX5" fmla="*/ 295519 w 1429564"/>
              <a:gd name="connsiteY5" fmla="*/ 477288 h 827332"/>
              <a:gd name="connsiteX6" fmla="*/ 833682 w 1429564"/>
              <a:gd name="connsiteY6" fmla="*/ 410613 h 827332"/>
              <a:gd name="connsiteX7" fmla="*/ 1417088 w 1429564"/>
              <a:gd name="connsiteY7" fmla="*/ 674932 h 827332"/>
              <a:gd name="connsiteX0" fmla="*/ 1417088 w 1429564"/>
              <a:gd name="connsiteY0" fmla="*/ 674932 h 827332"/>
              <a:gd name="connsiteX1" fmla="*/ 1414707 w 1429564"/>
              <a:gd name="connsiteY1" fmla="*/ 103432 h 827332"/>
              <a:gd name="connsiteX2" fmla="*/ 559838 w 1429564"/>
              <a:gd name="connsiteY2" fmla="*/ 39138 h 827332"/>
              <a:gd name="connsiteX3" fmla="*/ 26438 w 1429564"/>
              <a:gd name="connsiteY3" fmla="*/ 508244 h 827332"/>
              <a:gd name="connsiteX4" fmla="*/ 12151 w 1429564"/>
              <a:gd name="connsiteY4" fmla="*/ 827332 h 827332"/>
              <a:gd name="connsiteX5" fmla="*/ 295519 w 1429564"/>
              <a:gd name="connsiteY5" fmla="*/ 477288 h 827332"/>
              <a:gd name="connsiteX6" fmla="*/ 833682 w 1429564"/>
              <a:gd name="connsiteY6" fmla="*/ 410613 h 827332"/>
              <a:gd name="connsiteX7" fmla="*/ 1417088 w 1429564"/>
              <a:gd name="connsiteY7" fmla="*/ 674932 h 827332"/>
              <a:gd name="connsiteX0" fmla="*/ 1417088 w 1428573"/>
              <a:gd name="connsiteY0" fmla="*/ 674932 h 827332"/>
              <a:gd name="connsiteX1" fmla="*/ 1414707 w 1428573"/>
              <a:gd name="connsiteY1" fmla="*/ 103432 h 827332"/>
              <a:gd name="connsiteX2" fmla="*/ 559838 w 1428573"/>
              <a:gd name="connsiteY2" fmla="*/ 39138 h 827332"/>
              <a:gd name="connsiteX3" fmla="*/ 26438 w 1428573"/>
              <a:gd name="connsiteY3" fmla="*/ 508244 h 827332"/>
              <a:gd name="connsiteX4" fmla="*/ 12151 w 1428573"/>
              <a:gd name="connsiteY4" fmla="*/ 827332 h 827332"/>
              <a:gd name="connsiteX5" fmla="*/ 295519 w 1428573"/>
              <a:gd name="connsiteY5" fmla="*/ 477288 h 827332"/>
              <a:gd name="connsiteX6" fmla="*/ 833682 w 1428573"/>
              <a:gd name="connsiteY6" fmla="*/ 410613 h 827332"/>
              <a:gd name="connsiteX7" fmla="*/ 1417088 w 1428573"/>
              <a:gd name="connsiteY7" fmla="*/ 674932 h 827332"/>
              <a:gd name="connsiteX0" fmla="*/ 1417088 w 1428573"/>
              <a:gd name="connsiteY0" fmla="*/ 674932 h 827332"/>
              <a:gd name="connsiteX1" fmla="*/ 1414707 w 1428573"/>
              <a:gd name="connsiteY1" fmla="*/ 103432 h 827332"/>
              <a:gd name="connsiteX2" fmla="*/ 559838 w 1428573"/>
              <a:gd name="connsiteY2" fmla="*/ 39138 h 827332"/>
              <a:gd name="connsiteX3" fmla="*/ 26438 w 1428573"/>
              <a:gd name="connsiteY3" fmla="*/ 508244 h 827332"/>
              <a:gd name="connsiteX4" fmla="*/ 12151 w 1428573"/>
              <a:gd name="connsiteY4" fmla="*/ 827332 h 827332"/>
              <a:gd name="connsiteX5" fmla="*/ 295519 w 1428573"/>
              <a:gd name="connsiteY5" fmla="*/ 477288 h 827332"/>
              <a:gd name="connsiteX6" fmla="*/ 833682 w 1428573"/>
              <a:gd name="connsiteY6" fmla="*/ 410613 h 827332"/>
              <a:gd name="connsiteX7" fmla="*/ 1417088 w 1428573"/>
              <a:gd name="connsiteY7" fmla="*/ 674932 h 827332"/>
              <a:gd name="connsiteX0" fmla="*/ 1420075 w 1431560"/>
              <a:gd name="connsiteY0" fmla="*/ 674932 h 827332"/>
              <a:gd name="connsiteX1" fmla="*/ 1417694 w 1431560"/>
              <a:gd name="connsiteY1" fmla="*/ 103432 h 827332"/>
              <a:gd name="connsiteX2" fmla="*/ 562825 w 1431560"/>
              <a:gd name="connsiteY2" fmla="*/ 39138 h 827332"/>
              <a:gd name="connsiteX3" fmla="*/ 29425 w 1431560"/>
              <a:gd name="connsiteY3" fmla="*/ 508244 h 827332"/>
              <a:gd name="connsiteX4" fmla="*/ 15138 w 1431560"/>
              <a:gd name="connsiteY4" fmla="*/ 827332 h 827332"/>
              <a:gd name="connsiteX5" fmla="*/ 298506 w 1431560"/>
              <a:gd name="connsiteY5" fmla="*/ 477288 h 827332"/>
              <a:gd name="connsiteX6" fmla="*/ 836669 w 1431560"/>
              <a:gd name="connsiteY6" fmla="*/ 410613 h 827332"/>
              <a:gd name="connsiteX7" fmla="*/ 1420075 w 1431560"/>
              <a:gd name="connsiteY7" fmla="*/ 674932 h 827332"/>
              <a:gd name="connsiteX0" fmla="*/ 1420075 w 1431560"/>
              <a:gd name="connsiteY0" fmla="*/ 674932 h 827332"/>
              <a:gd name="connsiteX1" fmla="*/ 1417694 w 1431560"/>
              <a:gd name="connsiteY1" fmla="*/ 103432 h 827332"/>
              <a:gd name="connsiteX2" fmla="*/ 562825 w 1431560"/>
              <a:gd name="connsiteY2" fmla="*/ 39138 h 827332"/>
              <a:gd name="connsiteX3" fmla="*/ 29425 w 1431560"/>
              <a:gd name="connsiteY3" fmla="*/ 508244 h 827332"/>
              <a:gd name="connsiteX4" fmla="*/ 15138 w 1431560"/>
              <a:gd name="connsiteY4" fmla="*/ 827332 h 827332"/>
              <a:gd name="connsiteX5" fmla="*/ 298506 w 1431560"/>
              <a:gd name="connsiteY5" fmla="*/ 477288 h 827332"/>
              <a:gd name="connsiteX6" fmla="*/ 836669 w 1431560"/>
              <a:gd name="connsiteY6" fmla="*/ 410613 h 827332"/>
              <a:gd name="connsiteX7" fmla="*/ 1420075 w 1431560"/>
              <a:gd name="connsiteY7" fmla="*/ 674932 h 827332"/>
              <a:gd name="connsiteX0" fmla="*/ 1417089 w 1428574"/>
              <a:gd name="connsiteY0" fmla="*/ 674932 h 827332"/>
              <a:gd name="connsiteX1" fmla="*/ 1414708 w 1428574"/>
              <a:gd name="connsiteY1" fmla="*/ 103432 h 827332"/>
              <a:gd name="connsiteX2" fmla="*/ 559839 w 1428574"/>
              <a:gd name="connsiteY2" fmla="*/ 39138 h 827332"/>
              <a:gd name="connsiteX3" fmla="*/ 26439 w 1428574"/>
              <a:gd name="connsiteY3" fmla="*/ 508244 h 827332"/>
              <a:gd name="connsiteX4" fmla="*/ 12152 w 1428574"/>
              <a:gd name="connsiteY4" fmla="*/ 827332 h 827332"/>
              <a:gd name="connsiteX5" fmla="*/ 295520 w 1428574"/>
              <a:gd name="connsiteY5" fmla="*/ 477288 h 827332"/>
              <a:gd name="connsiteX6" fmla="*/ 833683 w 1428574"/>
              <a:gd name="connsiteY6" fmla="*/ 410613 h 827332"/>
              <a:gd name="connsiteX7" fmla="*/ 1417089 w 1428574"/>
              <a:gd name="connsiteY7" fmla="*/ 674932 h 827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28574" h="827332">
                <a:moveTo>
                  <a:pt x="1417089" y="674932"/>
                </a:moveTo>
                <a:cubicBezTo>
                  <a:pt x="1435346" y="448714"/>
                  <a:pt x="1429789" y="289169"/>
                  <a:pt x="1414708" y="103432"/>
                </a:cubicBezTo>
                <a:cubicBezTo>
                  <a:pt x="1129752" y="1038"/>
                  <a:pt x="880514" y="-34681"/>
                  <a:pt x="559839" y="39138"/>
                </a:cubicBezTo>
                <a:cubicBezTo>
                  <a:pt x="324968" y="93205"/>
                  <a:pt x="103590" y="255487"/>
                  <a:pt x="26439" y="508244"/>
                </a:cubicBezTo>
                <a:cubicBezTo>
                  <a:pt x="-7732" y="620193"/>
                  <a:pt x="-4518" y="728112"/>
                  <a:pt x="12152" y="827332"/>
                </a:cubicBezTo>
                <a:cubicBezTo>
                  <a:pt x="28424" y="650723"/>
                  <a:pt x="130471" y="560134"/>
                  <a:pt x="295520" y="477288"/>
                </a:cubicBezTo>
                <a:cubicBezTo>
                  <a:pt x="460084" y="394686"/>
                  <a:pt x="654458" y="387116"/>
                  <a:pt x="833683" y="410613"/>
                </a:cubicBezTo>
                <a:cubicBezTo>
                  <a:pt x="1142452" y="451094"/>
                  <a:pt x="1298820" y="584445"/>
                  <a:pt x="1417089" y="674932"/>
                </a:cubicBezTo>
                <a:close/>
              </a:path>
            </a:pathLst>
          </a:custGeom>
          <a:solidFill>
            <a:srgbClr val="0F238D"/>
          </a:solidFill>
          <a:ln w="127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400050" cy="5143500"/>
          </a:xfrm>
          <a:prstGeom prst="rect">
            <a:avLst/>
          </a:prstGeom>
        </p:spPr>
      </p:pic>
      <p:sp>
        <p:nvSpPr>
          <p:cNvPr id="17" name="Date Placeholder 3"/>
          <p:cNvSpPr>
            <a:spLocks noGrp="1"/>
          </p:cNvSpPr>
          <p:nvPr>
            <p:ph type="dt" sz="half" idx="10"/>
          </p:nvPr>
        </p:nvSpPr>
        <p:spPr>
          <a:xfrm>
            <a:off x="8252230" y="862398"/>
            <a:ext cx="751973" cy="9144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algn="r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fld id="{C19E589B-AAA2-4E83-AFD3-2993C58A57EE}" type="datetime3">
              <a:rPr lang="en-US" smtClean="0"/>
              <a:pPr/>
              <a:t>1 May 2019</a:t>
            </a:fld>
            <a:endParaRPr lang="en-US" dirty="0"/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8252229" y="563395"/>
            <a:ext cx="751973" cy="9144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20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8252230" y="733787"/>
            <a:ext cx="751249" cy="9144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Slide </a:t>
            </a:r>
            <a:fld id="{2BF23E3A-8558-42B9-AEEE-59D910584A1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56809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SML Cover slide 0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86000" y="3456000"/>
            <a:ext cx="7920000" cy="3816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r">
              <a:lnSpc>
                <a:spcPts val="1500"/>
              </a:lnSpc>
              <a:spcBef>
                <a:spcPts val="0"/>
              </a:spcBef>
              <a:buNone/>
              <a:defRPr sz="1300" baseline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Name of the presenter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86000" y="4410000"/>
            <a:ext cx="7920000" cy="140400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ts val="11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&lt;Date&gt;  |  &lt;Place&gt;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86000" y="2840447"/>
            <a:ext cx="7920000" cy="61555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algn="r">
              <a:lnSpc>
                <a:spcPts val="2400"/>
              </a:lnSpc>
              <a:spcBef>
                <a:spcPts val="0"/>
              </a:spcBef>
              <a:buNone/>
              <a:defRPr sz="2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Fill in your title here: </a:t>
            </a:r>
            <a:br>
              <a:rPr lang="en-US" noProof="0"/>
            </a:br>
            <a:r>
              <a:rPr lang="en-US" noProof="0"/>
              <a:t>This template is for presentation purposes only </a:t>
            </a:r>
          </a:p>
        </p:txBody>
      </p:sp>
      <p:sp>
        <p:nvSpPr>
          <p:cNvPr id="28" name="Freeform 27"/>
          <p:cNvSpPr/>
          <p:nvPr userDrawn="1"/>
        </p:nvSpPr>
        <p:spPr>
          <a:xfrm>
            <a:off x="6834277" y="1361500"/>
            <a:ext cx="417231" cy="446740"/>
          </a:xfrm>
          <a:custGeom>
            <a:avLst/>
            <a:gdLst>
              <a:gd name="connsiteX0" fmla="*/ 0 w 1097756"/>
              <a:gd name="connsiteY0" fmla="*/ 0 h 1181100"/>
              <a:gd name="connsiteX1" fmla="*/ 745331 w 1097756"/>
              <a:gd name="connsiteY1" fmla="*/ 0 h 1181100"/>
              <a:gd name="connsiteX2" fmla="*/ 1097756 w 1097756"/>
              <a:gd name="connsiteY2" fmla="*/ 1178718 h 1181100"/>
              <a:gd name="connsiteX3" fmla="*/ 523875 w 1097756"/>
              <a:gd name="connsiteY3" fmla="*/ 1181100 h 1181100"/>
              <a:gd name="connsiteX4" fmla="*/ 0 w 1097756"/>
              <a:gd name="connsiteY4" fmla="*/ 0 h 1181100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523875 w 1400175"/>
              <a:gd name="connsiteY3" fmla="*/ 1181100 h 2197893"/>
              <a:gd name="connsiteX4" fmla="*/ 0 w 1400175"/>
              <a:gd name="connsiteY4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1047750 w 1400175"/>
              <a:gd name="connsiteY3" fmla="*/ 1790700 h 2197893"/>
              <a:gd name="connsiteX4" fmla="*/ 523875 w 1400175"/>
              <a:gd name="connsiteY4" fmla="*/ 1181100 h 2197893"/>
              <a:gd name="connsiteX5" fmla="*/ 0 w 1400175"/>
              <a:gd name="connsiteY5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50094 w 1400175"/>
              <a:gd name="connsiteY3" fmla="*/ 2193131 h 2197893"/>
              <a:gd name="connsiteX4" fmla="*/ 523875 w 1400175"/>
              <a:gd name="connsiteY4" fmla="*/ 1181100 h 2197893"/>
              <a:gd name="connsiteX5" fmla="*/ 0 w 1400175"/>
              <a:gd name="connsiteY5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523875 w 1400175"/>
              <a:gd name="connsiteY4" fmla="*/ 1181100 h 2197893"/>
              <a:gd name="connsiteX5" fmla="*/ 0 w 1400175"/>
              <a:gd name="connsiteY5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0 w 1400175"/>
              <a:gd name="connsiteY5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230981 w 1400175"/>
              <a:gd name="connsiteY5" fmla="*/ 295275 h 2197893"/>
              <a:gd name="connsiteX6" fmla="*/ 0 w 1400175"/>
              <a:gd name="connsiteY6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95262 w 1400175"/>
              <a:gd name="connsiteY5" fmla="*/ 1204913 h 2197893"/>
              <a:gd name="connsiteX6" fmla="*/ 0 w 1400175"/>
              <a:gd name="connsiteY6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0 w 1400175"/>
              <a:gd name="connsiteY6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135731 w 1400175"/>
              <a:gd name="connsiteY6" fmla="*/ 1102518 h 2197893"/>
              <a:gd name="connsiteX7" fmla="*/ 0 w 1400175"/>
              <a:gd name="connsiteY7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0 w 1400175"/>
              <a:gd name="connsiteY7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378619 w 1400175"/>
              <a:gd name="connsiteY7" fmla="*/ 862012 h 2197893"/>
              <a:gd name="connsiteX8" fmla="*/ 0 w 1400175"/>
              <a:gd name="connsiteY8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0 w 1400175"/>
              <a:gd name="connsiteY8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426244 w 1400175"/>
              <a:gd name="connsiteY8" fmla="*/ 1112043 h 2197893"/>
              <a:gd name="connsiteX9" fmla="*/ 0 w 1400175"/>
              <a:gd name="connsiteY9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88106 w 1400175"/>
              <a:gd name="connsiteY8" fmla="*/ 1795462 h 2197893"/>
              <a:gd name="connsiteX9" fmla="*/ 0 w 1400175"/>
              <a:gd name="connsiteY9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88106 w 1400175"/>
              <a:gd name="connsiteY8" fmla="*/ 1795462 h 2197893"/>
              <a:gd name="connsiteX9" fmla="*/ 52388 w 1400175"/>
              <a:gd name="connsiteY9" fmla="*/ 1131093 h 2197893"/>
              <a:gd name="connsiteX10" fmla="*/ 0 w 1400175"/>
              <a:gd name="connsiteY10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88106 w 1400175"/>
              <a:gd name="connsiteY8" fmla="*/ 1795462 h 2197893"/>
              <a:gd name="connsiteX9" fmla="*/ 0 w 1400175"/>
              <a:gd name="connsiteY9" fmla="*/ 2197893 h 2197893"/>
              <a:gd name="connsiteX10" fmla="*/ 0 w 1400175"/>
              <a:gd name="connsiteY10" fmla="*/ 0 h 2197893"/>
              <a:gd name="connsiteX0" fmla="*/ 4762 w 1404937"/>
              <a:gd name="connsiteY0" fmla="*/ 0 h 2197893"/>
              <a:gd name="connsiteX1" fmla="*/ 750093 w 1404937"/>
              <a:gd name="connsiteY1" fmla="*/ 0 h 2197893"/>
              <a:gd name="connsiteX2" fmla="*/ 1404937 w 1404937"/>
              <a:gd name="connsiteY2" fmla="*/ 2197893 h 2197893"/>
              <a:gd name="connsiteX3" fmla="*/ 752475 w 1404937"/>
              <a:gd name="connsiteY3" fmla="*/ 2195512 h 2197893"/>
              <a:gd name="connsiteX4" fmla="*/ 376237 w 1404937"/>
              <a:gd name="connsiteY4" fmla="*/ 478631 h 2197893"/>
              <a:gd name="connsiteX5" fmla="*/ 178592 w 1404937"/>
              <a:gd name="connsiteY5" fmla="*/ 1383507 h 2197893"/>
              <a:gd name="connsiteX6" fmla="*/ 614362 w 1404937"/>
              <a:gd name="connsiteY6" fmla="*/ 1385887 h 2197893"/>
              <a:gd name="connsiteX7" fmla="*/ 697706 w 1404937"/>
              <a:gd name="connsiteY7" fmla="*/ 1797843 h 2197893"/>
              <a:gd name="connsiteX8" fmla="*/ 92868 w 1404937"/>
              <a:gd name="connsiteY8" fmla="*/ 1795462 h 2197893"/>
              <a:gd name="connsiteX9" fmla="*/ 4762 w 1404937"/>
              <a:gd name="connsiteY9" fmla="*/ 2197893 h 2197893"/>
              <a:gd name="connsiteX10" fmla="*/ 0 w 1404937"/>
              <a:gd name="connsiteY10" fmla="*/ 2045493 h 2197893"/>
              <a:gd name="connsiteX11" fmla="*/ 4762 w 1404937"/>
              <a:gd name="connsiteY11" fmla="*/ 0 h 2197893"/>
              <a:gd name="connsiteX0" fmla="*/ 652462 w 2052637"/>
              <a:gd name="connsiteY0" fmla="*/ 0 h 2197893"/>
              <a:gd name="connsiteX1" fmla="*/ 1397793 w 2052637"/>
              <a:gd name="connsiteY1" fmla="*/ 0 h 2197893"/>
              <a:gd name="connsiteX2" fmla="*/ 2052637 w 2052637"/>
              <a:gd name="connsiteY2" fmla="*/ 2197893 h 2197893"/>
              <a:gd name="connsiteX3" fmla="*/ 1400175 w 2052637"/>
              <a:gd name="connsiteY3" fmla="*/ 2195512 h 2197893"/>
              <a:gd name="connsiteX4" fmla="*/ 1023937 w 2052637"/>
              <a:gd name="connsiteY4" fmla="*/ 478631 h 2197893"/>
              <a:gd name="connsiteX5" fmla="*/ 826292 w 2052637"/>
              <a:gd name="connsiteY5" fmla="*/ 1383507 h 2197893"/>
              <a:gd name="connsiteX6" fmla="*/ 1262062 w 2052637"/>
              <a:gd name="connsiteY6" fmla="*/ 1385887 h 2197893"/>
              <a:gd name="connsiteX7" fmla="*/ 1345406 w 2052637"/>
              <a:gd name="connsiteY7" fmla="*/ 1797843 h 2197893"/>
              <a:gd name="connsiteX8" fmla="*/ 740568 w 2052637"/>
              <a:gd name="connsiteY8" fmla="*/ 1795462 h 2197893"/>
              <a:gd name="connsiteX9" fmla="*/ 652462 w 2052637"/>
              <a:gd name="connsiteY9" fmla="*/ 2197893 h 2197893"/>
              <a:gd name="connsiteX10" fmla="*/ 0 w 2052637"/>
              <a:gd name="connsiteY10" fmla="*/ 2193131 h 2197893"/>
              <a:gd name="connsiteX11" fmla="*/ 652462 w 2052637"/>
              <a:gd name="connsiteY11" fmla="*/ 0 h 2197893"/>
              <a:gd name="connsiteX0" fmla="*/ 652462 w 2052637"/>
              <a:gd name="connsiteY0" fmla="*/ 1 h 2197894"/>
              <a:gd name="connsiteX1" fmla="*/ 1397793 w 2052637"/>
              <a:gd name="connsiteY1" fmla="*/ 1 h 2197894"/>
              <a:gd name="connsiteX2" fmla="*/ 2052637 w 2052637"/>
              <a:gd name="connsiteY2" fmla="*/ 2197894 h 2197894"/>
              <a:gd name="connsiteX3" fmla="*/ 1400175 w 2052637"/>
              <a:gd name="connsiteY3" fmla="*/ 2195513 h 2197894"/>
              <a:gd name="connsiteX4" fmla="*/ 1023937 w 2052637"/>
              <a:gd name="connsiteY4" fmla="*/ 478632 h 2197894"/>
              <a:gd name="connsiteX5" fmla="*/ 826292 w 2052637"/>
              <a:gd name="connsiteY5" fmla="*/ 1383508 h 2197894"/>
              <a:gd name="connsiteX6" fmla="*/ 1262062 w 2052637"/>
              <a:gd name="connsiteY6" fmla="*/ 1385888 h 2197894"/>
              <a:gd name="connsiteX7" fmla="*/ 1345406 w 2052637"/>
              <a:gd name="connsiteY7" fmla="*/ 1797844 h 2197894"/>
              <a:gd name="connsiteX8" fmla="*/ 740568 w 2052637"/>
              <a:gd name="connsiteY8" fmla="*/ 1795463 h 2197894"/>
              <a:gd name="connsiteX9" fmla="*/ 652462 w 2052637"/>
              <a:gd name="connsiteY9" fmla="*/ 2197894 h 2197894"/>
              <a:gd name="connsiteX10" fmla="*/ 0 w 2052637"/>
              <a:gd name="connsiteY10" fmla="*/ 2193132 h 2197894"/>
              <a:gd name="connsiteX11" fmla="*/ 652462 w 2052637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62133 w 2052708"/>
              <a:gd name="connsiteY6" fmla="*/ 1385888 h 2197894"/>
              <a:gd name="connsiteX7" fmla="*/ 1345477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14508 w 2052708"/>
              <a:gd name="connsiteY6" fmla="*/ 1383506 h 2197894"/>
              <a:gd name="connsiteX7" fmla="*/ 1345477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14508 w 2052708"/>
              <a:gd name="connsiteY6" fmla="*/ 1383506 h 2197894"/>
              <a:gd name="connsiteX7" fmla="*/ 1312139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19271 w 2052708"/>
              <a:gd name="connsiteY6" fmla="*/ 1376363 h 2197894"/>
              <a:gd name="connsiteX7" fmla="*/ 1312139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21653 w 2052708"/>
              <a:gd name="connsiteY6" fmla="*/ 1383507 h 2197894"/>
              <a:gd name="connsiteX7" fmla="*/ 1312139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21653 w 2052708"/>
              <a:gd name="connsiteY6" fmla="*/ 1383507 h 2197894"/>
              <a:gd name="connsiteX7" fmla="*/ 1312139 w 2052708"/>
              <a:gd name="connsiteY7" fmla="*/ 1795463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052708" h="2197894">
                <a:moveTo>
                  <a:pt x="652533" y="1"/>
                </a:moveTo>
                <a:lnTo>
                  <a:pt x="1397864" y="1"/>
                </a:lnTo>
                <a:lnTo>
                  <a:pt x="2052708" y="2197894"/>
                </a:lnTo>
                <a:lnTo>
                  <a:pt x="1400246" y="2195513"/>
                </a:lnTo>
                <a:lnTo>
                  <a:pt x="1024008" y="478632"/>
                </a:lnTo>
                <a:lnTo>
                  <a:pt x="826363" y="1383508"/>
                </a:lnTo>
                <a:lnTo>
                  <a:pt x="1221653" y="1383507"/>
                </a:lnTo>
                <a:lnTo>
                  <a:pt x="1312139" y="1795463"/>
                </a:lnTo>
                <a:lnTo>
                  <a:pt x="740639" y="1795463"/>
                </a:lnTo>
                <a:lnTo>
                  <a:pt x="652533" y="2197894"/>
                </a:lnTo>
                <a:lnTo>
                  <a:pt x="71" y="2193132"/>
                </a:lnTo>
                <a:cubicBezTo>
                  <a:pt x="-7867" y="2197101"/>
                  <a:pt x="648565" y="-1587"/>
                  <a:pt x="652533" y="1"/>
                </a:cubicBezTo>
                <a:close/>
              </a:path>
            </a:pathLst>
          </a:custGeom>
          <a:solidFill>
            <a:srgbClr val="0F238C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noProof="0">
              <a:solidFill>
                <a:schemeClr val="accent1"/>
              </a:solidFill>
            </a:endParaRPr>
          </a:p>
        </p:txBody>
      </p:sp>
      <p:sp>
        <p:nvSpPr>
          <p:cNvPr id="29" name="Freeform 28"/>
          <p:cNvSpPr/>
          <p:nvPr userDrawn="1"/>
        </p:nvSpPr>
        <p:spPr>
          <a:xfrm>
            <a:off x="7648693" y="1361015"/>
            <a:ext cx="508209" cy="446742"/>
          </a:xfrm>
          <a:custGeom>
            <a:avLst/>
            <a:gdLst>
              <a:gd name="connsiteX0" fmla="*/ 0 w 688182"/>
              <a:gd name="connsiteY0" fmla="*/ 950119 h 950119"/>
              <a:gd name="connsiteX1" fmla="*/ 611982 w 688182"/>
              <a:gd name="connsiteY1" fmla="*/ 950119 h 950119"/>
              <a:gd name="connsiteX2" fmla="*/ 688182 w 688182"/>
              <a:gd name="connsiteY2" fmla="*/ 0 h 950119"/>
              <a:gd name="connsiteX3" fmla="*/ 0 w 688182"/>
              <a:gd name="connsiteY3" fmla="*/ 950119 h 950119"/>
              <a:gd name="connsiteX0" fmla="*/ 0 w 688182"/>
              <a:gd name="connsiteY0" fmla="*/ 950119 h 950119"/>
              <a:gd name="connsiteX1" fmla="*/ 611982 w 688182"/>
              <a:gd name="connsiteY1" fmla="*/ 950119 h 950119"/>
              <a:gd name="connsiteX2" fmla="*/ 688182 w 688182"/>
              <a:gd name="connsiteY2" fmla="*/ 0 h 950119"/>
              <a:gd name="connsiteX3" fmla="*/ 214313 w 688182"/>
              <a:gd name="connsiteY3" fmla="*/ 652463 h 950119"/>
              <a:gd name="connsiteX4" fmla="*/ 0 w 688182"/>
              <a:gd name="connsiteY4" fmla="*/ 950119 h 950119"/>
              <a:gd name="connsiteX0" fmla="*/ 0 w 688182"/>
              <a:gd name="connsiteY0" fmla="*/ 950119 h 950119"/>
              <a:gd name="connsiteX1" fmla="*/ 611982 w 688182"/>
              <a:gd name="connsiteY1" fmla="*/ 950119 h 950119"/>
              <a:gd name="connsiteX2" fmla="*/ 688182 w 688182"/>
              <a:gd name="connsiteY2" fmla="*/ 0 h 950119"/>
              <a:gd name="connsiteX3" fmla="*/ 111919 w 688182"/>
              <a:gd name="connsiteY3" fmla="*/ 95250 h 950119"/>
              <a:gd name="connsiteX4" fmla="*/ 0 w 688182"/>
              <a:gd name="connsiteY4" fmla="*/ 950119 h 950119"/>
              <a:gd name="connsiteX0" fmla="*/ 0 w 723900"/>
              <a:gd name="connsiteY0" fmla="*/ 1395413 h 1395413"/>
              <a:gd name="connsiteX1" fmla="*/ 611982 w 723900"/>
              <a:gd name="connsiteY1" fmla="*/ 1395413 h 1395413"/>
              <a:gd name="connsiteX2" fmla="*/ 723900 w 723900"/>
              <a:gd name="connsiteY2" fmla="*/ 0 h 1395413"/>
              <a:gd name="connsiteX3" fmla="*/ 111919 w 723900"/>
              <a:gd name="connsiteY3" fmla="*/ 540544 h 1395413"/>
              <a:gd name="connsiteX4" fmla="*/ 0 w 723900"/>
              <a:gd name="connsiteY4" fmla="*/ 1395413 h 1395413"/>
              <a:gd name="connsiteX0" fmla="*/ 0 w 723900"/>
              <a:gd name="connsiteY0" fmla="*/ 2031206 h 2031206"/>
              <a:gd name="connsiteX1" fmla="*/ 611982 w 723900"/>
              <a:gd name="connsiteY1" fmla="*/ 2031206 h 2031206"/>
              <a:gd name="connsiteX2" fmla="*/ 723900 w 723900"/>
              <a:gd name="connsiteY2" fmla="*/ 635793 h 2031206"/>
              <a:gd name="connsiteX3" fmla="*/ 266700 w 723900"/>
              <a:gd name="connsiteY3" fmla="*/ 0 h 2031206"/>
              <a:gd name="connsiteX4" fmla="*/ 0 w 723900"/>
              <a:gd name="connsiteY4" fmla="*/ 2031206 h 2031206"/>
              <a:gd name="connsiteX0" fmla="*/ 0 w 723900"/>
              <a:gd name="connsiteY0" fmla="*/ 2195513 h 2195513"/>
              <a:gd name="connsiteX1" fmla="*/ 611982 w 723900"/>
              <a:gd name="connsiteY1" fmla="*/ 2195513 h 2195513"/>
              <a:gd name="connsiteX2" fmla="*/ 723900 w 723900"/>
              <a:gd name="connsiteY2" fmla="*/ 800100 h 2195513"/>
              <a:gd name="connsiteX3" fmla="*/ 283369 w 723900"/>
              <a:gd name="connsiteY3" fmla="*/ 0 h 2195513"/>
              <a:gd name="connsiteX4" fmla="*/ 0 w 723900"/>
              <a:gd name="connsiteY4" fmla="*/ 2195513 h 2195513"/>
              <a:gd name="connsiteX0" fmla="*/ 0 w 723900"/>
              <a:gd name="connsiteY0" fmla="*/ 2195513 h 2195513"/>
              <a:gd name="connsiteX1" fmla="*/ 611982 w 723900"/>
              <a:gd name="connsiteY1" fmla="*/ 2195513 h 2195513"/>
              <a:gd name="connsiteX2" fmla="*/ 723900 w 723900"/>
              <a:gd name="connsiteY2" fmla="*/ 800100 h 2195513"/>
              <a:gd name="connsiteX3" fmla="*/ 500063 w 723900"/>
              <a:gd name="connsiteY3" fmla="*/ 388145 h 2195513"/>
              <a:gd name="connsiteX4" fmla="*/ 283369 w 723900"/>
              <a:gd name="connsiteY4" fmla="*/ 0 h 2195513"/>
              <a:gd name="connsiteX5" fmla="*/ 0 w 723900"/>
              <a:gd name="connsiteY5" fmla="*/ 2195513 h 2195513"/>
              <a:gd name="connsiteX0" fmla="*/ 0 w 945356"/>
              <a:gd name="connsiteY0" fmla="*/ 2195513 h 2195513"/>
              <a:gd name="connsiteX1" fmla="*/ 611982 w 945356"/>
              <a:gd name="connsiteY1" fmla="*/ 2195513 h 2195513"/>
              <a:gd name="connsiteX2" fmla="*/ 723900 w 945356"/>
              <a:gd name="connsiteY2" fmla="*/ 800100 h 2195513"/>
              <a:gd name="connsiteX3" fmla="*/ 945356 w 945356"/>
              <a:gd name="connsiteY3" fmla="*/ 2382 h 2195513"/>
              <a:gd name="connsiteX4" fmla="*/ 283369 w 945356"/>
              <a:gd name="connsiteY4" fmla="*/ 0 h 2195513"/>
              <a:gd name="connsiteX5" fmla="*/ 0 w 945356"/>
              <a:gd name="connsiteY5" fmla="*/ 2195513 h 2195513"/>
              <a:gd name="connsiteX0" fmla="*/ 0 w 945356"/>
              <a:gd name="connsiteY0" fmla="*/ 2195513 h 2195513"/>
              <a:gd name="connsiteX1" fmla="*/ 611982 w 945356"/>
              <a:gd name="connsiteY1" fmla="*/ 2195513 h 2195513"/>
              <a:gd name="connsiteX2" fmla="*/ 723900 w 945356"/>
              <a:gd name="connsiteY2" fmla="*/ 800100 h 2195513"/>
              <a:gd name="connsiteX3" fmla="*/ 790575 w 945356"/>
              <a:gd name="connsiteY3" fmla="*/ 545308 h 2195513"/>
              <a:gd name="connsiteX4" fmla="*/ 945356 w 945356"/>
              <a:gd name="connsiteY4" fmla="*/ 2382 h 2195513"/>
              <a:gd name="connsiteX5" fmla="*/ 283369 w 945356"/>
              <a:gd name="connsiteY5" fmla="*/ 0 h 2195513"/>
              <a:gd name="connsiteX6" fmla="*/ 0 w 945356"/>
              <a:gd name="connsiteY6" fmla="*/ 2195513 h 2195513"/>
              <a:gd name="connsiteX0" fmla="*/ 0 w 1252537"/>
              <a:gd name="connsiteY0" fmla="*/ 2195513 h 2195513"/>
              <a:gd name="connsiteX1" fmla="*/ 611982 w 1252537"/>
              <a:gd name="connsiteY1" fmla="*/ 2195513 h 2195513"/>
              <a:gd name="connsiteX2" fmla="*/ 723900 w 1252537"/>
              <a:gd name="connsiteY2" fmla="*/ 800100 h 2195513"/>
              <a:gd name="connsiteX3" fmla="*/ 1252537 w 1252537"/>
              <a:gd name="connsiteY3" fmla="*/ 1333501 h 2195513"/>
              <a:gd name="connsiteX4" fmla="*/ 945356 w 1252537"/>
              <a:gd name="connsiteY4" fmla="*/ 2382 h 2195513"/>
              <a:gd name="connsiteX5" fmla="*/ 283369 w 1252537"/>
              <a:gd name="connsiteY5" fmla="*/ 0 h 2195513"/>
              <a:gd name="connsiteX6" fmla="*/ 0 w 1252537"/>
              <a:gd name="connsiteY6" fmla="*/ 2195513 h 2195513"/>
              <a:gd name="connsiteX0" fmla="*/ 0 w 1252537"/>
              <a:gd name="connsiteY0" fmla="*/ 2195513 h 2195513"/>
              <a:gd name="connsiteX1" fmla="*/ 611982 w 1252537"/>
              <a:gd name="connsiteY1" fmla="*/ 2195513 h 2195513"/>
              <a:gd name="connsiteX2" fmla="*/ 723900 w 1252537"/>
              <a:gd name="connsiteY2" fmla="*/ 800100 h 2195513"/>
              <a:gd name="connsiteX3" fmla="*/ 1031082 w 1252537"/>
              <a:gd name="connsiteY3" fmla="*/ 1112045 h 2195513"/>
              <a:gd name="connsiteX4" fmla="*/ 1252537 w 1252537"/>
              <a:gd name="connsiteY4" fmla="*/ 1333501 h 2195513"/>
              <a:gd name="connsiteX5" fmla="*/ 945356 w 1252537"/>
              <a:gd name="connsiteY5" fmla="*/ 2382 h 2195513"/>
              <a:gd name="connsiteX6" fmla="*/ 283369 w 1252537"/>
              <a:gd name="connsiteY6" fmla="*/ 0 h 2195513"/>
              <a:gd name="connsiteX7" fmla="*/ 0 w 1252537"/>
              <a:gd name="connsiteY7" fmla="*/ 2195513 h 2195513"/>
              <a:gd name="connsiteX0" fmla="*/ 0 w 1252537"/>
              <a:gd name="connsiteY0" fmla="*/ 2195513 h 2195513"/>
              <a:gd name="connsiteX1" fmla="*/ 611982 w 1252537"/>
              <a:gd name="connsiteY1" fmla="*/ 2195513 h 2195513"/>
              <a:gd name="connsiteX2" fmla="*/ 723900 w 1252537"/>
              <a:gd name="connsiteY2" fmla="*/ 800100 h 2195513"/>
              <a:gd name="connsiteX3" fmla="*/ 1007270 w 1252537"/>
              <a:gd name="connsiteY3" fmla="*/ 2193132 h 2195513"/>
              <a:gd name="connsiteX4" fmla="*/ 1252537 w 1252537"/>
              <a:gd name="connsiteY4" fmla="*/ 1333501 h 2195513"/>
              <a:gd name="connsiteX5" fmla="*/ 945356 w 1252537"/>
              <a:gd name="connsiteY5" fmla="*/ 2382 h 2195513"/>
              <a:gd name="connsiteX6" fmla="*/ 283369 w 1252537"/>
              <a:gd name="connsiteY6" fmla="*/ 0 h 2195513"/>
              <a:gd name="connsiteX7" fmla="*/ 0 w 1252537"/>
              <a:gd name="connsiteY7" fmla="*/ 2195513 h 2195513"/>
              <a:gd name="connsiteX0" fmla="*/ 0 w 1252537"/>
              <a:gd name="connsiteY0" fmla="*/ 2195513 h 2195513"/>
              <a:gd name="connsiteX1" fmla="*/ 611982 w 1252537"/>
              <a:gd name="connsiteY1" fmla="*/ 2195513 h 2195513"/>
              <a:gd name="connsiteX2" fmla="*/ 723900 w 1252537"/>
              <a:gd name="connsiteY2" fmla="*/ 800100 h 2195513"/>
              <a:gd name="connsiteX3" fmla="*/ 1007270 w 1252537"/>
              <a:gd name="connsiteY3" fmla="*/ 2193132 h 2195513"/>
              <a:gd name="connsiteX4" fmla="*/ 1173957 w 1252537"/>
              <a:gd name="connsiteY4" fmla="*/ 1600202 h 2195513"/>
              <a:gd name="connsiteX5" fmla="*/ 1252537 w 1252537"/>
              <a:gd name="connsiteY5" fmla="*/ 1333501 h 2195513"/>
              <a:gd name="connsiteX6" fmla="*/ 945356 w 1252537"/>
              <a:gd name="connsiteY6" fmla="*/ 2382 h 2195513"/>
              <a:gd name="connsiteX7" fmla="*/ 283369 w 1252537"/>
              <a:gd name="connsiteY7" fmla="*/ 0 h 2195513"/>
              <a:gd name="connsiteX8" fmla="*/ 0 w 1252537"/>
              <a:gd name="connsiteY8" fmla="*/ 2195513 h 2195513"/>
              <a:gd name="connsiteX0" fmla="*/ 0 w 1488282"/>
              <a:gd name="connsiteY0" fmla="*/ 2195513 h 2195514"/>
              <a:gd name="connsiteX1" fmla="*/ 611982 w 1488282"/>
              <a:gd name="connsiteY1" fmla="*/ 2195513 h 2195514"/>
              <a:gd name="connsiteX2" fmla="*/ 723900 w 1488282"/>
              <a:gd name="connsiteY2" fmla="*/ 800100 h 2195514"/>
              <a:gd name="connsiteX3" fmla="*/ 1007270 w 1488282"/>
              <a:gd name="connsiteY3" fmla="*/ 2193132 h 2195514"/>
              <a:gd name="connsiteX4" fmla="*/ 1488282 w 1488282"/>
              <a:gd name="connsiteY4" fmla="*/ 2195514 h 2195514"/>
              <a:gd name="connsiteX5" fmla="*/ 1252537 w 1488282"/>
              <a:gd name="connsiteY5" fmla="*/ 1333501 h 2195514"/>
              <a:gd name="connsiteX6" fmla="*/ 945356 w 1488282"/>
              <a:gd name="connsiteY6" fmla="*/ 2382 h 2195514"/>
              <a:gd name="connsiteX7" fmla="*/ 283369 w 1488282"/>
              <a:gd name="connsiteY7" fmla="*/ 0 h 2195514"/>
              <a:gd name="connsiteX8" fmla="*/ 0 w 1488282"/>
              <a:gd name="connsiteY8" fmla="*/ 2195513 h 2195514"/>
              <a:gd name="connsiteX0" fmla="*/ 0 w 1488282"/>
              <a:gd name="connsiteY0" fmla="*/ 2195513 h 2195514"/>
              <a:gd name="connsiteX1" fmla="*/ 611982 w 1488282"/>
              <a:gd name="connsiteY1" fmla="*/ 2195513 h 2195514"/>
              <a:gd name="connsiteX2" fmla="*/ 723900 w 1488282"/>
              <a:gd name="connsiteY2" fmla="*/ 800100 h 2195514"/>
              <a:gd name="connsiteX3" fmla="*/ 1007270 w 1488282"/>
              <a:gd name="connsiteY3" fmla="*/ 2193132 h 2195514"/>
              <a:gd name="connsiteX4" fmla="*/ 1488282 w 1488282"/>
              <a:gd name="connsiteY4" fmla="*/ 2195514 h 2195514"/>
              <a:gd name="connsiteX5" fmla="*/ 1352549 w 1488282"/>
              <a:gd name="connsiteY5" fmla="*/ 1690688 h 2195514"/>
              <a:gd name="connsiteX6" fmla="*/ 1252537 w 1488282"/>
              <a:gd name="connsiteY6" fmla="*/ 1333501 h 2195514"/>
              <a:gd name="connsiteX7" fmla="*/ 945356 w 1488282"/>
              <a:gd name="connsiteY7" fmla="*/ 2382 h 2195514"/>
              <a:gd name="connsiteX8" fmla="*/ 283369 w 1488282"/>
              <a:gd name="connsiteY8" fmla="*/ 0 h 2195514"/>
              <a:gd name="connsiteX9" fmla="*/ 0 w 1488282"/>
              <a:gd name="connsiteY9" fmla="*/ 2195513 h 2195514"/>
              <a:gd name="connsiteX0" fmla="*/ 0 w 1781174"/>
              <a:gd name="connsiteY0" fmla="*/ 2195513 h 2195514"/>
              <a:gd name="connsiteX1" fmla="*/ 611982 w 1781174"/>
              <a:gd name="connsiteY1" fmla="*/ 2195513 h 2195514"/>
              <a:gd name="connsiteX2" fmla="*/ 723900 w 1781174"/>
              <a:gd name="connsiteY2" fmla="*/ 800100 h 2195514"/>
              <a:gd name="connsiteX3" fmla="*/ 1007270 w 1781174"/>
              <a:gd name="connsiteY3" fmla="*/ 2193132 h 2195514"/>
              <a:gd name="connsiteX4" fmla="*/ 1488282 w 1781174"/>
              <a:gd name="connsiteY4" fmla="*/ 2195514 h 2195514"/>
              <a:gd name="connsiteX5" fmla="*/ 1781174 w 1781174"/>
              <a:gd name="connsiteY5" fmla="*/ 792957 h 2195514"/>
              <a:gd name="connsiteX6" fmla="*/ 1252537 w 1781174"/>
              <a:gd name="connsiteY6" fmla="*/ 1333501 h 2195514"/>
              <a:gd name="connsiteX7" fmla="*/ 945356 w 1781174"/>
              <a:gd name="connsiteY7" fmla="*/ 2382 h 2195514"/>
              <a:gd name="connsiteX8" fmla="*/ 283369 w 1781174"/>
              <a:gd name="connsiteY8" fmla="*/ 0 h 2195514"/>
              <a:gd name="connsiteX9" fmla="*/ 0 w 1781174"/>
              <a:gd name="connsiteY9" fmla="*/ 2195513 h 2195514"/>
              <a:gd name="connsiteX0" fmla="*/ 0 w 1781174"/>
              <a:gd name="connsiteY0" fmla="*/ 2195513 h 2195514"/>
              <a:gd name="connsiteX1" fmla="*/ 611982 w 1781174"/>
              <a:gd name="connsiteY1" fmla="*/ 2195513 h 2195514"/>
              <a:gd name="connsiteX2" fmla="*/ 723900 w 1781174"/>
              <a:gd name="connsiteY2" fmla="*/ 800100 h 2195514"/>
              <a:gd name="connsiteX3" fmla="*/ 1007270 w 1781174"/>
              <a:gd name="connsiteY3" fmla="*/ 2193132 h 2195514"/>
              <a:gd name="connsiteX4" fmla="*/ 1488282 w 1781174"/>
              <a:gd name="connsiteY4" fmla="*/ 2195514 h 2195514"/>
              <a:gd name="connsiteX5" fmla="*/ 1781174 w 1781174"/>
              <a:gd name="connsiteY5" fmla="*/ 792957 h 2195514"/>
              <a:gd name="connsiteX6" fmla="*/ 1528762 w 1781174"/>
              <a:gd name="connsiteY6" fmla="*/ 1052513 h 2195514"/>
              <a:gd name="connsiteX7" fmla="*/ 1252537 w 1781174"/>
              <a:gd name="connsiteY7" fmla="*/ 1333501 h 2195514"/>
              <a:gd name="connsiteX8" fmla="*/ 945356 w 1781174"/>
              <a:gd name="connsiteY8" fmla="*/ 2382 h 2195514"/>
              <a:gd name="connsiteX9" fmla="*/ 283369 w 1781174"/>
              <a:gd name="connsiteY9" fmla="*/ 0 h 2195514"/>
              <a:gd name="connsiteX10" fmla="*/ 0 w 1781174"/>
              <a:gd name="connsiteY10" fmla="*/ 2195513 h 2195514"/>
              <a:gd name="connsiteX0" fmla="*/ 0 w 1781174"/>
              <a:gd name="connsiteY0" fmla="*/ 2197894 h 2197895"/>
              <a:gd name="connsiteX1" fmla="*/ 611982 w 1781174"/>
              <a:gd name="connsiteY1" fmla="*/ 2197894 h 2197895"/>
              <a:gd name="connsiteX2" fmla="*/ 723900 w 1781174"/>
              <a:gd name="connsiteY2" fmla="*/ 802481 h 2197895"/>
              <a:gd name="connsiteX3" fmla="*/ 1007270 w 1781174"/>
              <a:gd name="connsiteY3" fmla="*/ 2195513 h 2197895"/>
              <a:gd name="connsiteX4" fmla="*/ 1488282 w 1781174"/>
              <a:gd name="connsiteY4" fmla="*/ 2197895 h 2197895"/>
              <a:gd name="connsiteX5" fmla="*/ 1781174 w 1781174"/>
              <a:gd name="connsiteY5" fmla="*/ 795338 h 2197895"/>
              <a:gd name="connsiteX6" fmla="*/ 1559719 w 1781174"/>
              <a:gd name="connsiteY6" fmla="*/ 0 h 2197895"/>
              <a:gd name="connsiteX7" fmla="*/ 1252537 w 1781174"/>
              <a:gd name="connsiteY7" fmla="*/ 1335882 h 2197895"/>
              <a:gd name="connsiteX8" fmla="*/ 945356 w 1781174"/>
              <a:gd name="connsiteY8" fmla="*/ 4763 h 2197895"/>
              <a:gd name="connsiteX9" fmla="*/ 283369 w 1781174"/>
              <a:gd name="connsiteY9" fmla="*/ 2381 h 2197895"/>
              <a:gd name="connsiteX10" fmla="*/ 0 w 1781174"/>
              <a:gd name="connsiteY10" fmla="*/ 2197894 h 2197895"/>
              <a:gd name="connsiteX0" fmla="*/ 0 w 1781174"/>
              <a:gd name="connsiteY0" fmla="*/ 2197894 h 2197895"/>
              <a:gd name="connsiteX1" fmla="*/ 611982 w 1781174"/>
              <a:gd name="connsiteY1" fmla="*/ 2197894 h 2197895"/>
              <a:gd name="connsiteX2" fmla="*/ 723900 w 1781174"/>
              <a:gd name="connsiteY2" fmla="*/ 802481 h 2197895"/>
              <a:gd name="connsiteX3" fmla="*/ 1007270 w 1781174"/>
              <a:gd name="connsiteY3" fmla="*/ 2195513 h 2197895"/>
              <a:gd name="connsiteX4" fmla="*/ 1488282 w 1781174"/>
              <a:gd name="connsiteY4" fmla="*/ 2197895 h 2197895"/>
              <a:gd name="connsiteX5" fmla="*/ 1781174 w 1781174"/>
              <a:gd name="connsiteY5" fmla="*/ 795338 h 2197895"/>
              <a:gd name="connsiteX6" fmla="*/ 1688306 w 1781174"/>
              <a:gd name="connsiteY6" fmla="*/ 454820 h 2197895"/>
              <a:gd name="connsiteX7" fmla="*/ 1559719 w 1781174"/>
              <a:gd name="connsiteY7" fmla="*/ 0 h 2197895"/>
              <a:gd name="connsiteX8" fmla="*/ 1252537 w 1781174"/>
              <a:gd name="connsiteY8" fmla="*/ 1335882 h 2197895"/>
              <a:gd name="connsiteX9" fmla="*/ 945356 w 1781174"/>
              <a:gd name="connsiteY9" fmla="*/ 4763 h 2197895"/>
              <a:gd name="connsiteX10" fmla="*/ 283369 w 1781174"/>
              <a:gd name="connsiteY10" fmla="*/ 2381 h 2197895"/>
              <a:gd name="connsiteX11" fmla="*/ 0 w 1781174"/>
              <a:gd name="connsiteY11" fmla="*/ 2197894 h 2197895"/>
              <a:gd name="connsiteX0" fmla="*/ 0 w 2212181"/>
              <a:gd name="connsiteY0" fmla="*/ 2197894 h 2197895"/>
              <a:gd name="connsiteX1" fmla="*/ 611982 w 2212181"/>
              <a:gd name="connsiteY1" fmla="*/ 2197894 h 2197895"/>
              <a:gd name="connsiteX2" fmla="*/ 723900 w 2212181"/>
              <a:gd name="connsiteY2" fmla="*/ 802481 h 2197895"/>
              <a:gd name="connsiteX3" fmla="*/ 1007270 w 2212181"/>
              <a:gd name="connsiteY3" fmla="*/ 2195513 h 2197895"/>
              <a:gd name="connsiteX4" fmla="*/ 1488282 w 2212181"/>
              <a:gd name="connsiteY4" fmla="*/ 2197895 h 2197895"/>
              <a:gd name="connsiteX5" fmla="*/ 1781174 w 2212181"/>
              <a:gd name="connsiteY5" fmla="*/ 795338 h 2197895"/>
              <a:gd name="connsiteX6" fmla="*/ 2212181 w 2212181"/>
              <a:gd name="connsiteY6" fmla="*/ 7145 h 2197895"/>
              <a:gd name="connsiteX7" fmla="*/ 1559719 w 2212181"/>
              <a:gd name="connsiteY7" fmla="*/ 0 h 2197895"/>
              <a:gd name="connsiteX8" fmla="*/ 1252537 w 2212181"/>
              <a:gd name="connsiteY8" fmla="*/ 1335882 h 2197895"/>
              <a:gd name="connsiteX9" fmla="*/ 945356 w 2212181"/>
              <a:gd name="connsiteY9" fmla="*/ 4763 h 2197895"/>
              <a:gd name="connsiteX10" fmla="*/ 283369 w 2212181"/>
              <a:gd name="connsiteY10" fmla="*/ 2381 h 2197895"/>
              <a:gd name="connsiteX11" fmla="*/ 0 w 2212181"/>
              <a:gd name="connsiteY11" fmla="*/ 2197894 h 2197895"/>
              <a:gd name="connsiteX0" fmla="*/ 0 w 2212181"/>
              <a:gd name="connsiteY0" fmla="*/ 2197894 h 2197895"/>
              <a:gd name="connsiteX1" fmla="*/ 611982 w 2212181"/>
              <a:gd name="connsiteY1" fmla="*/ 2197894 h 2197895"/>
              <a:gd name="connsiteX2" fmla="*/ 723900 w 2212181"/>
              <a:gd name="connsiteY2" fmla="*/ 802481 h 2197895"/>
              <a:gd name="connsiteX3" fmla="*/ 1007270 w 2212181"/>
              <a:gd name="connsiteY3" fmla="*/ 2195513 h 2197895"/>
              <a:gd name="connsiteX4" fmla="*/ 1488282 w 2212181"/>
              <a:gd name="connsiteY4" fmla="*/ 2197895 h 2197895"/>
              <a:gd name="connsiteX5" fmla="*/ 1781174 w 2212181"/>
              <a:gd name="connsiteY5" fmla="*/ 795338 h 2197895"/>
              <a:gd name="connsiteX6" fmla="*/ 2035968 w 2212181"/>
              <a:gd name="connsiteY6" fmla="*/ 328614 h 2197895"/>
              <a:gd name="connsiteX7" fmla="*/ 2212181 w 2212181"/>
              <a:gd name="connsiteY7" fmla="*/ 7145 h 2197895"/>
              <a:gd name="connsiteX8" fmla="*/ 1559719 w 2212181"/>
              <a:gd name="connsiteY8" fmla="*/ 0 h 2197895"/>
              <a:gd name="connsiteX9" fmla="*/ 1252537 w 2212181"/>
              <a:gd name="connsiteY9" fmla="*/ 1335882 h 2197895"/>
              <a:gd name="connsiteX10" fmla="*/ 945356 w 2212181"/>
              <a:gd name="connsiteY10" fmla="*/ 4763 h 2197895"/>
              <a:gd name="connsiteX11" fmla="*/ 283369 w 2212181"/>
              <a:gd name="connsiteY11" fmla="*/ 2381 h 2197895"/>
              <a:gd name="connsiteX12" fmla="*/ 0 w 2212181"/>
              <a:gd name="connsiteY12" fmla="*/ 2197894 h 2197895"/>
              <a:gd name="connsiteX0" fmla="*/ 0 w 2500312"/>
              <a:gd name="connsiteY0" fmla="*/ 2197894 h 2197895"/>
              <a:gd name="connsiteX1" fmla="*/ 611982 w 2500312"/>
              <a:gd name="connsiteY1" fmla="*/ 2197894 h 2197895"/>
              <a:gd name="connsiteX2" fmla="*/ 723900 w 2500312"/>
              <a:gd name="connsiteY2" fmla="*/ 802481 h 2197895"/>
              <a:gd name="connsiteX3" fmla="*/ 1007270 w 2500312"/>
              <a:gd name="connsiteY3" fmla="*/ 2195513 h 2197895"/>
              <a:gd name="connsiteX4" fmla="*/ 1488282 w 2500312"/>
              <a:gd name="connsiteY4" fmla="*/ 2197895 h 2197895"/>
              <a:gd name="connsiteX5" fmla="*/ 1781174 w 2500312"/>
              <a:gd name="connsiteY5" fmla="*/ 795338 h 2197895"/>
              <a:gd name="connsiteX6" fmla="*/ 2500312 w 2500312"/>
              <a:gd name="connsiteY6" fmla="*/ 2197895 h 2197895"/>
              <a:gd name="connsiteX7" fmla="*/ 2212181 w 2500312"/>
              <a:gd name="connsiteY7" fmla="*/ 7145 h 2197895"/>
              <a:gd name="connsiteX8" fmla="*/ 1559719 w 2500312"/>
              <a:gd name="connsiteY8" fmla="*/ 0 h 2197895"/>
              <a:gd name="connsiteX9" fmla="*/ 1252537 w 2500312"/>
              <a:gd name="connsiteY9" fmla="*/ 1335882 h 2197895"/>
              <a:gd name="connsiteX10" fmla="*/ 945356 w 2500312"/>
              <a:gd name="connsiteY10" fmla="*/ 4763 h 2197895"/>
              <a:gd name="connsiteX11" fmla="*/ 283369 w 2500312"/>
              <a:gd name="connsiteY11" fmla="*/ 2381 h 2197895"/>
              <a:gd name="connsiteX12" fmla="*/ 0 w 2500312"/>
              <a:gd name="connsiteY12" fmla="*/ 2197894 h 2197895"/>
              <a:gd name="connsiteX0" fmla="*/ 0 w 2500312"/>
              <a:gd name="connsiteY0" fmla="*/ 2197894 h 2197895"/>
              <a:gd name="connsiteX1" fmla="*/ 611982 w 2500312"/>
              <a:gd name="connsiteY1" fmla="*/ 2197894 h 2197895"/>
              <a:gd name="connsiteX2" fmla="*/ 723900 w 2500312"/>
              <a:gd name="connsiteY2" fmla="*/ 802481 h 2197895"/>
              <a:gd name="connsiteX3" fmla="*/ 1007270 w 2500312"/>
              <a:gd name="connsiteY3" fmla="*/ 2195513 h 2197895"/>
              <a:gd name="connsiteX4" fmla="*/ 1488282 w 2500312"/>
              <a:gd name="connsiteY4" fmla="*/ 2197895 h 2197895"/>
              <a:gd name="connsiteX5" fmla="*/ 1781174 w 2500312"/>
              <a:gd name="connsiteY5" fmla="*/ 795338 h 2197895"/>
              <a:gd name="connsiteX6" fmla="*/ 2190748 w 2500312"/>
              <a:gd name="connsiteY6" fmla="*/ 1595439 h 2197895"/>
              <a:gd name="connsiteX7" fmla="*/ 2500312 w 2500312"/>
              <a:gd name="connsiteY7" fmla="*/ 2197895 h 2197895"/>
              <a:gd name="connsiteX8" fmla="*/ 2212181 w 2500312"/>
              <a:gd name="connsiteY8" fmla="*/ 7145 h 2197895"/>
              <a:gd name="connsiteX9" fmla="*/ 1559719 w 2500312"/>
              <a:gd name="connsiteY9" fmla="*/ 0 h 2197895"/>
              <a:gd name="connsiteX10" fmla="*/ 1252537 w 2500312"/>
              <a:gd name="connsiteY10" fmla="*/ 1335882 h 2197895"/>
              <a:gd name="connsiteX11" fmla="*/ 945356 w 2500312"/>
              <a:gd name="connsiteY11" fmla="*/ 4763 h 2197895"/>
              <a:gd name="connsiteX12" fmla="*/ 283369 w 2500312"/>
              <a:gd name="connsiteY12" fmla="*/ 2381 h 2197895"/>
              <a:gd name="connsiteX13" fmla="*/ 0 w 2500312"/>
              <a:gd name="connsiteY13" fmla="*/ 2197894 h 2197895"/>
              <a:gd name="connsiteX0" fmla="*/ 0 w 2500312"/>
              <a:gd name="connsiteY0" fmla="*/ 2197894 h 2197895"/>
              <a:gd name="connsiteX1" fmla="*/ 611982 w 2500312"/>
              <a:gd name="connsiteY1" fmla="*/ 2197894 h 2197895"/>
              <a:gd name="connsiteX2" fmla="*/ 723900 w 2500312"/>
              <a:gd name="connsiteY2" fmla="*/ 802481 h 2197895"/>
              <a:gd name="connsiteX3" fmla="*/ 1007270 w 2500312"/>
              <a:gd name="connsiteY3" fmla="*/ 2195513 h 2197895"/>
              <a:gd name="connsiteX4" fmla="*/ 1488282 w 2500312"/>
              <a:gd name="connsiteY4" fmla="*/ 2197895 h 2197895"/>
              <a:gd name="connsiteX5" fmla="*/ 1781174 w 2500312"/>
              <a:gd name="connsiteY5" fmla="*/ 795338 h 2197895"/>
              <a:gd name="connsiteX6" fmla="*/ 1883567 w 2500312"/>
              <a:gd name="connsiteY6" fmla="*/ 2195514 h 2197895"/>
              <a:gd name="connsiteX7" fmla="*/ 2500312 w 2500312"/>
              <a:gd name="connsiteY7" fmla="*/ 2197895 h 2197895"/>
              <a:gd name="connsiteX8" fmla="*/ 2212181 w 2500312"/>
              <a:gd name="connsiteY8" fmla="*/ 7145 h 2197895"/>
              <a:gd name="connsiteX9" fmla="*/ 1559719 w 2500312"/>
              <a:gd name="connsiteY9" fmla="*/ 0 h 2197895"/>
              <a:gd name="connsiteX10" fmla="*/ 1252537 w 2500312"/>
              <a:gd name="connsiteY10" fmla="*/ 1335882 h 2197895"/>
              <a:gd name="connsiteX11" fmla="*/ 945356 w 2500312"/>
              <a:gd name="connsiteY11" fmla="*/ 4763 h 2197895"/>
              <a:gd name="connsiteX12" fmla="*/ 283369 w 2500312"/>
              <a:gd name="connsiteY12" fmla="*/ 2381 h 2197895"/>
              <a:gd name="connsiteX13" fmla="*/ 0 w 2500312"/>
              <a:gd name="connsiteY13" fmla="*/ 2197894 h 2197895"/>
              <a:gd name="connsiteX0" fmla="*/ 0 w 2500312"/>
              <a:gd name="connsiteY0" fmla="*/ 2197894 h 2197895"/>
              <a:gd name="connsiteX1" fmla="*/ 611982 w 2500312"/>
              <a:gd name="connsiteY1" fmla="*/ 2197894 h 2197895"/>
              <a:gd name="connsiteX2" fmla="*/ 723900 w 2500312"/>
              <a:gd name="connsiteY2" fmla="*/ 802481 h 2197895"/>
              <a:gd name="connsiteX3" fmla="*/ 1007270 w 2500312"/>
              <a:gd name="connsiteY3" fmla="*/ 2195513 h 2197895"/>
              <a:gd name="connsiteX4" fmla="*/ 1488282 w 2500312"/>
              <a:gd name="connsiteY4" fmla="*/ 2197895 h 2197895"/>
              <a:gd name="connsiteX5" fmla="*/ 1776411 w 2500312"/>
              <a:gd name="connsiteY5" fmla="*/ 809626 h 2197895"/>
              <a:gd name="connsiteX6" fmla="*/ 1883567 w 2500312"/>
              <a:gd name="connsiteY6" fmla="*/ 2195514 h 2197895"/>
              <a:gd name="connsiteX7" fmla="*/ 2500312 w 2500312"/>
              <a:gd name="connsiteY7" fmla="*/ 2197895 h 2197895"/>
              <a:gd name="connsiteX8" fmla="*/ 2212181 w 2500312"/>
              <a:gd name="connsiteY8" fmla="*/ 7145 h 2197895"/>
              <a:gd name="connsiteX9" fmla="*/ 1559719 w 2500312"/>
              <a:gd name="connsiteY9" fmla="*/ 0 h 2197895"/>
              <a:gd name="connsiteX10" fmla="*/ 1252537 w 2500312"/>
              <a:gd name="connsiteY10" fmla="*/ 1335882 h 2197895"/>
              <a:gd name="connsiteX11" fmla="*/ 945356 w 2500312"/>
              <a:gd name="connsiteY11" fmla="*/ 4763 h 2197895"/>
              <a:gd name="connsiteX12" fmla="*/ 283369 w 2500312"/>
              <a:gd name="connsiteY12" fmla="*/ 2381 h 2197895"/>
              <a:gd name="connsiteX13" fmla="*/ 0 w 2500312"/>
              <a:gd name="connsiteY13" fmla="*/ 2197894 h 2197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500312" h="2197895">
                <a:moveTo>
                  <a:pt x="0" y="2197894"/>
                </a:moveTo>
                <a:lnTo>
                  <a:pt x="611982" y="2197894"/>
                </a:lnTo>
                <a:lnTo>
                  <a:pt x="723900" y="802481"/>
                </a:lnTo>
                <a:lnTo>
                  <a:pt x="1007270" y="2195513"/>
                </a:lnTo>
                <a:lnTo>
                  <a:pt x="1488282" y="2197895"/>
                </a:lnTo>
                <a:lnTo>
                  <a:pt x="1776411" y="809626"/>
                </a:lnTo>
                <a:lnTo>
                  <a:pt x="1883567" y="2195514"/>
                </a:lnTo>
                <a:lnTo>
                  <a:pt x="2500312" y="2197895"/>
                </a:lnTo>
                <a:lnTo>
                  <a:pt x="2212181" y="7145"/>
                </a:lnTo>
                <a:lnTo>
                  <a:pt x="1559719" y="0"/>
                </a:lnTo>
                <a:lnTo>
                  <a:pt x="1252537" y="1335882"/>
                </a:lnTo>
                <a:lnTo>
                  <a:pt x="945356" y="4763"/>
                </a:lnTo>
                <a:lnTo>
                  <a:pt x="283369" y="2381"/>
                </a:lnTo>
                <a:lnTo>
                  <a:pt x="0" y="2197894"/>
                </a:lnTo>
                <a:close/>
              </a:path>
            </a:pathLst>
          </a:custGeom>
          <a:solidFill>
            <a:srgbClr val="0F238C"/>
          </a:solidFill>
          <a:ln w="190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noProof="0">
              <a:solidFill>
                <a:schemeClr val="accent1"/>
              </a:solidFill>
            </a:endParaRPr>
          </a:p>
        </p:txBody>
      </p:sp>
      <p:sp>
        <p:nvSpPr>
          <p:cNvPr id="30" name="Freeform 29"/>
          <p:cNvSpPr/>
          <p:nvPr userDrawn="1"/>
        </p:nvSpPr>
        <p:spPr>
          <a:xfrm>
            <a:off x="8218855" y="1361983"/>
            <a:ext cx="285565" cy="445289"/>
          </a:xfrm>
          <a:custGeom>
            <a:avLst/>
            <a:gdLst>
              <a:gd name="connsiteX0" fmla="*/ 0 w 1428750"/>
              <a:gd name="connsiteY0" fmla="*/ 997744 h 997744"/>
              <a:gd name="connsiteX1" fmla="*/ 1404937 w 1428750"/>
              <a:gd name="connsiteY1" fmla="*/ 997744 h 997744"/>
              <a:gd name="connsiteX2" fmla="*/ 1404937 w 1428750"/>
              <a:gd name="connsiteY2" fmla="*/ 538163 h 997744"/>
              <a:gd name="connsiteX3" fmla="*/ 1428750 w 1428750"/>
              <a:gd name="connsiteY3" fmla="*/ 540544 h 997744"/>
              <a:gd name="connsiteX4" fmla="*/ 590550 w 1428750"/>
              <a:gd name="connsiteY4" fmla="*/ 540544 h 997744"/>
              <a:gd name="connsiteX5" fmla="*/ 590550 w 1428750"/>
              <a:gd name="connsiteY5" fmla="*/ 0 h 997744"/>
              <a:gd name="connsiteX6" fmla="*/ 0 w 1428750"/>
              <a:gd name="connsiteY6" fmla="*/ 0 h 997744"/>
              <a:gd name="connsiteX7" fmla="*/ 0 w 1428750"/>
              <a:gd name="connsiteY7" fmla="*/ 997744 h 997744"/>
              <a:gd name="connsiteX0" fmla="*/ 0 w 1404937"/>
              <a:gd name="connsiteY0" fmla="*/ 997744 h 997744"/>
              <a:gd name="connsiteX1" fmla="*/ 1404937 w 1404937"/>
              <a:gd name="connsiteY1" fmla="*/ 997744 h 997744"/>
              <a:gd name="connsiteX2" fmla="*/ 1404937 w 1404937"/>
              <a:gd name="connsiteY2" fmla="*/ 538163 h 997744"/>
              <a:gd name="connsiteX3" fmla="*/ 1219200 w 1404937"/>
              <a:gd name="connsiteY3" fmla="*/ 476250 h 997744"/>
              <a:gd name="connsiteX4" fmla="*/ 590550 w 1404937"/>
              <a:gd name="connsiteY4" fmla="*/ 540544 h 997744"/>
              <a:gd name="connsiteX5" fmla="*/ 590550 w 1404937"/>
              <a:gd name="connsiteY5" fmla="*/ 0 h 997744"/>
              <a:gd name="connsiteX6" fmla="*/ 0 w 1404937"/>
              <a:gd name="connsiteY6" fmla="*/ 0 h 997744"/>
              <a:gd name="connsiteX7" fmla="*/ 0 w 1404937"/>
              <a:gd name="connsiteY7" fmla="*/ 997744 h 997744"/>
              <a:gd name="connsiteX0" fmla="*/ 0 w 1404937"/>
              <a:gd name="connsiteY0" fmla="*/ 997744 h 997744"/>
              <a:gd name="connsiteX1" fmla="*/ 1404937 w 1404937"/>
              <a:gd name="connsiteY1" fmla="*/ 997744 h 997744"/>
              <a:gd name="connsiteX2" fmla="*/ 1404937 w 1404937"/>
              <a:gd name="connsiteY2" fmla="*/ 538163 h 997744"/>
              <a:gd name="connsiteX3" fmla="*/ 590550 w 1404937"/>
              <a:gd name="connsiteY3" fmla="*/ 540544 h 997744"/>
              <a:gd name="connsiteX4" fmla="*/ 590550 w 1404937"/>
              <a:gd name="connsiteY4" fmla="*/ 0 h 997744"/>
              <a:gd name="connsiteX5" fmla="*/ 0 w 1404937"/>
              <a:gd name="connsiteY5" fmla="*/ 0 h 997744"/>
              <a:gd name="connsiteX6" fmla="*/ 0 w 1404937"/>
              <a:gd name="connsiteY6" fmla="*/ 997744 h 997744"/>
              <a:gd name="connsiteX0" fmla="*/ 0 w 1404937"/>
              <a:gd name="connsiteY0" fmla="*/ 1614488 h 1614488"/>
              <a:gd name="connsiteX1" fmla="*/ 1404937 w 1404937"/>
              <a:gd name="connsiteY1" fmla="*/ 1614488 h 1614488"/>
              <a:gd name="connsiteX2" fmla="*/ 1404937 w 1404937"/>
              <a:gd name="connsiteY2" fmla="*/ 1154907 h 1614488"/>
              <a:gd name="connsiteX3" fmla="*/ 590550 w 1404937"/>
              <a:gd name="connsiteY3" fmla="*/ 1157288 h 1614488"/>
              <a:gd name="connsiteX4" fmla="*/ 592931 w 1404937"/>
              <a:gd name="connsiteY4" fmla="*/ 0 h 1614488"/>
              <a:gd name="connsiteX5" fmla="*/ 0 w 1404937"/>
              <a:gd name="connsiteY5" fmla="*/ 616744 h 1614488"/>
              <a:gd name="connsiteX6" fmla="*/ 0 w 1404937"/>
              <a:gd name="connsiteY6" fmla="*/ 1614488 h 1614488"/>
              <a:gd name="connsiteX0" fmla="*/ 0 w 1404937"/>
              <a:gd name="connsiteY0" fmla="*/ 2188369 h 2188369"/>
              <a:gd name="connsiteX1" fmla="*/ 1404937 w 1404937"/>
              <a:gd name="connsiteY1" fmla="*/ 2188369 h 2188369"/>
              <a:gd name="connsiteX2" fmla="*/ 1404937 w 1404937"/>
              <a:gd name="connsiteY2" fmla="*/ 1728788 h 2188369"/>
              <a:gd name="connsiteX3" fmla="*/ 590550 w 1404937"/>
              <a:gd name="connsiteY3" fmla="*/ 1731169 h 2188369"/>
              <a:gd name="connsiteX4" fmla="*/ 592931 w 1404937"/>
              <a:gd name="connsiteY4" fmla="*/ 573881 h 2188369"/>
              <a:gd name="connsiteX5" fmla="*/ 2382 w 1404937"/>
              <a:gd name="connsiteY5" fmla="*/ 0 h 2188369"/>
              <a:gd name="connsiteX6" fmla="*/ 0 w 1404937"/>
              <a:gd name="connsiteY6" fmla="*/ 2188369 h 2188369"/>
              <a:gd name="connsiteX0" fmla="*/ 0 w 1404937"/>
              <a:gd name="connsiteY0" fmla="*/ 2190750 h 2190750"/>
              <a:gd name="connsiteX1" fmla="*/ 1404937 w 1404937"/>
              <a:gd name="connsiteY1" fmla="*/ 2190750 h 2190750"/>
              <a:gd name="connsiteX2" fmla="*/ 1404937 w 1404937"/>
              <a:gd name="connsiteY2" fmla="*/ 1731169 h 2190750"/>
              <a:gd name="connsiteX3" fmla="*/ 590550 w 1404937"/>
              <a:gd name="connsiteY3" fmla="*/ 1733550 h 2190750"/>
              <a:gd name="connsiteX4" fmla="*/ 592931 w 1404937"/>
              <a:gd name="connsiteY4" fmla="*/ 0 h 2190750"/>
              <a:gd name="connsiteX5" fmla="*/ 2382 w 1404937"/>
              <a:gd name="connsiteY5" fmla="*/ 2381 h 2190750"/>
              <a:gd name="connsiteX6" fmla="*/ 0 w 1404937"/>
              <a:gd name="connsiteY6" fmla="*/ 2190750 h 2190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04937" h="2190750">
                <a:moveTo>
                  <a:pt x="0" y="2190750"/>
                </a:moveTo>
                <a:lnTo>
                  <a:pt x="1404937" y="2190750"/>
                </a:lnTo>
                <a:lnTo>
                  <a:pt x="1404937" y="1731169"/>
                </a:lnTo>
                <a:lnTo>
                  <a:pt x="590550" y="1733550"/>
                </a:lnTo>
                <a:cubicBezTo>
                  <a:pt x="591344" y="1347787"/>
                  <a:pt x="592137" y="385763"/>
                  <a:pt x="592931" y="0"/>
                </a:cubicBezTo>
                <a:lnTo>
                  <a:pt x="2382" y="2381"/>
                </a:lnTo>
                <a:cubicBezTo>
                  <a:pt x="3969" y="334962"/>
                  <a:pt x="3175" y="1858169"/>
                  <a:pt x="0" y="2190750"/>
                </a:cubicBezTo>
                <a:close/>
              </a:path>
            </a:pathLst>
          </a:custGeom>
          <a:solidFill>
            <a:srgbClr val="0F238C"/>
          </a:solidFill>
          <a:ln w="190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noProof="0">
              <a:solidFill>
                <a:schemeClr val="accent1"/>
              </a:solidFill>
            </a:endParaRPr>
          </a:p>
        </p:txBody>
      </p:sp>
      <p:sp>
        <p:nvSpPr>
          <p:cNvPr id="31" name="Freeform 30"/>
          <p:cNvSpPr/>
          <p:nvPr userDrawn="1"/>
        </p:nvSpPr>
        <p:spPr>
          <a:xfrm>
            <a:off x="7278612" y="1451041"/>
            <a:ext cx="330600" cy="365922"/>
          </a:xfrm>
          <a:custGeom>
            <a:avLst/>
            <a:gdLst>
              <a:gd name="connsiteX0" fmla="*/ 0 w 483394"/>
              <a:gd name="connsiteY0" fmla="*/ 0 h 645319"/>
              <a:gd name="connsiteX1" fmla="*/ 0 w 483394"/>
              <a:gd name="connsiteY1" fmla="*/ 528638 h 645319"/>
              <a:gd name="connsiteX2" fmla="*/ 33338 w 483394"/>
              <a:gd name="connsiteY2" fmla="*/ 528638 h 645319"/>
              <a:gd name="connsiteX3" fmla="*/ 381000 w 483394"/>
              <a:gd name="connsiteY3" fmla="*/ 645319 h 645319"/>
              <a:gd name="connsiteX4" fmla="*/ 483394 w 483394"/>
              <a:gd name="connsiteY4" fmla="*/ 216694 h 645319"/>
              <a:gd name="connsiteX5" fmla="*/ 0 w 483394"/>
              <a:gd name="connsiteY5" fmla="*/ 0 h 645319"/>
              <a:gd name="connsiteX0" fmla="*/ 0 w 1626394"/>
              <a:gd name="connsiteY0" fmla="*/ 0 h 528638"/>
              <a:gd name="connsiteX1" fmla="*/ 0 w 1626394"/>
              <a:gd name="connsiteY1" fmla="*/ 528638 h 528638"/>
              <a:gd name="connsiteX2" fmla="*/ 33338 w 1626394"/>
              <a:gd name="connsiteY2" fmla="*/ 528638 h 528638"/>
              <a:gd name="connsiteX3" fmla="*/ 1626394 w 1626394"/>
              <a:gd name="connsiteY3" fmla="*/ 7144 h 528638"/>
              <a:gd name="connsiteX4" fmla="*/ 483394 w 1626394"/>
              <a:gd name="connsiteY4" fmla="*/ 216694 h 528638"/>
              <a:gd name="connsiteX5" fmla="*/ 0 w 1626394"/>
              <a:gd name="connsiteY5" fmla="*/ 0 h 528638"/>
              <a:gd name="connsiteX0" fmla="*/ 0 w 1626394"/>
              <a:gd name="connsiteY0" fmla="*/ 0 h 528638"/>
              <a:gd name="connsiteX1" fmla="*/ 0 w 1626394"/>
              <a:gd name="connsiteY1" fmla="*/ 528638 h 528638"/>
              <a:gd name="connsiteX2" fmla="*/ 33338 w 1626394"/>
              <a:gd name="connsiteY2" fmla="*/ 528638 h 528638"/>
              <a:gd name="connsiteX3" fmla="*/ 1626394 w 1626394"/>
              <a:gd name="connsiteY3" fmla="*/ 7144 h 528638"/>
              <a:gd name="connsiteX4" fmla="*/ 483394 w 1626394"/>
              <a:gd name="connsiteY4" fmla="*/ 216694 h 528638"/>
              <a:gd name="connsiteX5" fmla="*/ 0 w 1626394"/>
              <a:gd name="connsiteY5" fmla="*/ 0 h 528638"/>
              <a:gd name="connsiteX0" fmla="*/ 0 w 1626394"/>
              <a:gd name="connsiteY0" fmla="*/ 0 h 714375"/>
              <a:gd name="connsiteX1" fmla="*/ 0 w 1626394"/>
              <a:gd name="connsiteY1" fmla="*/ 528638 h 714375"/>
              <a:gd name="connsiteX2" fmla="*/ 354807 w 1626394"/>
              <a:gd name="connsiteY2" fmla="*/ 714375 h 714375"/>
              <a:gd name="connsiteX3" fmla="*/ 1626394 w 1626394"/>
              <a:gd name="connsiteY3" fmla="*/ 7144 h 714375"/>
              <a:gd name="connsiteX4" fmla="*/ 483394 w 1626394"/>
              <a:gd name="connsiteY4" fmla="*/ 216694 h 714375"/>
              <a:gd name="connsiteX5" fmla="*/ 0 w 1626394"/>
              <a:gd name="connsiteY5" fmla="*/ 0 h 714375"/>
              <a:gd name="connsiteX0" fmla="*/ 0 w 1626394"/>
              <a:gd name="connsiteY0" fmla="*/ 0 h 528638"/>
              <a:gd name="connsiteX1" fmla="*/ 0 w 1626394"/>
              <a:gd name="connsiteY1" fmla="*/ 528638 h 528638"/>
              <a:gd name="connsiteX2" fmla="*/ 1626394 w 1626394"/>
              <a:gd name="connsiteY2" fmla="*/ 7144 h 528638"/>
              <a:gd name="connsiteX3" fmla="*/ 483394 w 1626394"/>
              <a:gd name="connsiteY3" fmla="*/ 216694 h 528638"/>
              <a:gd name="connsiteX4" fmla="*/ 0 w 1626394"/>
              <a:gd name="connsiteY4" fmla="*/ 0 h 528638"/>
              <a:gd name="connsiteX0" fmla="*/ 0 w 1626394"/>
              <a:gd name="connsiteY0" fmla="*/ 0 h 528638"/>
              <a:gd name="connsiteX1" fmla="*/ 0 w 1626394"/>
              <a:gd name="connsiteY1" fmla="*/ 528638 h 528638"/>
              <a:gd name="connsiteX2" fmla="*/ 1626394 w 1626394"/>
              <a:gd name="connsiteY2" fmla="*/ 7144 h 528638"/>
              <a:gd name="connsiteX3" fmla="*/ 483394 w 1626394"/>
              <a:gd name="connsiteY3" fmla="*/ 216694 h 528638"/>
              <a:gd name="connsiteX4" fmla="*/ 0 w 1626394"/>
              <a:gd name="connsiteY4" fmla="*/ 0 h 528638"/>
              <a:gd name="connsiteX0" fmla="*/ 0 w 1626394"/>
              <a:gd name="connsiteY0" fmla="*/ 0 h 681404"/>
              <a:gd name="connsiteX1" fmla="*/ 0 w 1626394"/>
              <a:gd name="connsiteY1" fmla="*/ 528638 h 681404"/>
              <a:gd name="connsiteX2" fmla="*/ 1626394 w 1626394"/>
              <a:gd name="connsiteY2" fmla="*/ 7144 h 681404"/>
              <a:gd name="connsiteX3" fmla="*/ 483394 w 1626394"/>
              <a:gd name="connsiteY3" fmla="*/ 216694 h 681404"/>
              <a:gd name="connsiteX4" fmla="*/ 0 w 1626394"/>
              <a:gd name="connsiteY4" fmla="*/ 0 h 681404"/>
              <a:gd name="connsiteX0" fmla="*/ 0 w 1626394"/>
              <a:gd name="connsiteY0" fmla="*/ 0 h 661055"/>
              <a:gd name="connsiteX1" fmla="*/ 0 w 1626394"/>
              <a:gd name="connsiteY1" fmla="*/ 528638 h 661055"/>
              <a:gd name="connsiteX2" fmla="*/ 1626394 w 1626394"/>
              <a:gd name="connsiteY2" fmla="*/ 7144 h 661055"/>
              <a:gd name="connsiteX3" fmla="*/ 483394 w 1626394"/>
              <a:gd name="connsiteY3" fmla="*/ 216694 h 661055"/>
              <a:gd name="connsiteX4" fmla="*/ 0 w 1626394"/>
              <a:gd name="connsiteY4" fmla="*/ 0 h 661055"/>
              <a:gd name="connsiteX0" fmla="*/ 0 w 1626394"/>
              <a:gd name="connsiteY0" fmla="*/ 0 h 678971"/>
              <a:gd name="connsiteX1" fmla="*/ 0 w 1626394"/>
              <a:gd name="connsiteY1" fmla="*/ 528638 h 678971"/>
              <a:gd name="connsiteX2" fmla="*/ 1626394 w 1626394"/>
              <a:gd name="connsiteY2" fmla="*/ 7144 h 678971"/>
              <a:gd name="connsiteX3" fmla="*/ 483394 w 1626394"/>
              <a:gd name="connsiteY3" fmla="*/ 216694 h 678971"/>
              <a:gd name="connsiteX4" fmla="*/ 0 w 1626394"/>
              <a:gd name="connsiteY4" fmla="*/ 0 h 678971"/>
              <a:gd name="connsiteX0" fmla="*/ 0 w 1626394"/>
              <a:gd name="connsiteY0" fmla="*/ 0 h 678971"/>
              <a:gd name="connsiteX1" fmla="*/ 0 w 1626394"/>
              <a:gd name="connsiteY1" fmla="*/ 528638 h 678971"/>
              <a:gd name="connsiteX2" fmla="*/ 1626394 w 1626394"/>
              <a:gd name="connsiteY2" fmla="*/ 7144 h 678971"/>
              <a:gd name="connsiteX3" fmla="*/ 621506 w 1626394"/>
              <a:gd name="connsiteY3" fmla="*/ 233363 h 678971"/>
              <a:gd name="connsiteX4" fmla="*/ 0 w 1626394"/>
              <a:gd name="connsiteY4" fmla="*/ 0 h 678971"/>
              <a:gd name="connsiteX0" fmla="*/ 0 w 1626394"/>
              <a:gd name="connsiteY0" fmla="*/ 4860 h 683831"/>
              <a:gd name="connsiteX1" fmla="*/ 0 w 1626394"/>
              <a:gd name="connsiteY1" fmla="*/ 533498 h 683831"/>
              <a:gd name="connsiteX2" fmla="*/ 1626394 w 1626394"/>
              <a:gd name="connsiteY2" fmla="*/ 12004 h 683831"/>
              <a:gd name="connsiteX3" fmla="*/ 621506 w 1626394"/>
              <a:gd name="connsiteY3" fmla="*/ 238223 h 683831"/>
              <a:gd name="connsiteX4" fmla="*/ 0 w 1626394"/>
              <a:gd name="connsiteY4" fmla="*/ 4860 h 683831"/>
              <a:gd name="connsiteX0" fmla="*/ 0 w 1626394"/>
              <a:gd name="connsiteY0" fmla="*/ 4860 h 683831"/>
              <a:gd name="connsiteX1" fmla="*/ 0 w 1626394"/>
              <a:gd name="connsiteY1" fmla="*/ 533498 h 683831"/>
              <a:gd name="connsiteX2" fmla="*/ 1626394 w 1626394"/>
              <a:gd name="connsiteY2" fmla="*/ 12004 h 683831"/>
              <a:gd name="connsiteX3" fmla="*/ 1066800 w 1626394"/>
              <a:gd name="connsiteY3" fmla="*/ 135830 h 683831"/>
              <a:gd name="connsiteX4" fmla="*/ 621506 w 1626394"/>
              <a:gd name="connsiteY4" fmla="*/ 238223 h 683831"/>
              <a:gd name="connsiteX5" fmla="*/ 0 w 1626394"/>
              <a:gd name="connsiteY5" fmla="*/ 4860 h 683831"/>
              <a:gd name="connsiteX0" fmla="*/ 0 w 1626394"/>
              <a:gd name="connsiteY0" fmla="*/ 111917 h 790888"/>
              <a:gd name="connsiteX1" fmla="*/ 0 w 1626394"/>
              <a:gd name="connsiteY1" fmla="*/ 640555 h 790888"/>
              <a:gd name="connsiteX2" fmla="*/ 1626394 w 1626394"/>
              <a:gd name="connsiteY2" fmla="*/ 119061 h 790888"/>
              <a:gd name="connsiteX3" fmla="*/ 923925 w 1626394"/>
              <a:gd name="connsiteY3" fmla="*/ 0 h 790888"/>
              <a:gd name="connsiteX4" fmla="*/ 621506 w 1626394"/>
              <a:gd name="connsiteY4" fmla="*/ 345280 h 790888"/>
              <a:gd name="connsiteX5" fmla="*/ 0 w 1626394"/>
              <a:gd name="connsiteY5" fmla="*/ 111917 h 790888"/>
              <a:gd name="connsiteX0" fmla="*/ 0 w 1626394"/>
              <a:gd name="connsiteY0" fmla="*/ 111917 h 790888"/>
              <a:gd name="connsiteX1" fmla="*/ 0 w 1626394"/>
              <a:gd name="connsiteY1" fmla="*/ 640555 h 790888"/>
              <a:gd name="connsiteX2" fmla="*/ 1626394 w 1626394"/>
              <a:gd name="connsiteY2" fmla="*/ 119061 h 790888"/>
              <a:gd name="connsiteX3" fmla="*/ 1059656 w 1626394"/>
              <a:gd name="connsiteY3" fmla="*/ 23812 h 790888"/>
              <a:gd name="connsiteX4" fmla="*/ 923925 w 1626394"/>
              <a:gd name="connsiteY4" fmla="*/ 0 h 790888"/>
              <a:gd name="connsiteX5" fmla="*/ 621506 w 1626394"/>
              <a:gd name="connsiteY5" fmla="*/ 345280 h 790888"/>
              <a:gd name="connsiteX6" fmla="*/ 0 w 1626394"/>
              <a:gd name="connsiteY6" fmla="*/ 111917 h 790888"/>
              <a:gd name="connsiteX0" fmla="*/ 0 w 1626394"/>
              <a:gd name="connsiteY0" fmla="*/ 538161 h 1217132"/>
              <a:gd name="connsiteX1" fmla="*/ 0 w 1626394"/>
              <a:gd name="connsiteY1" fmla="*/ 1066799 h 1217132"/>
              <a:gd name="connsiteX2" fmla="*/ 1626394 w 1626394"/>
              <a:gd name="connsiteY2" fmla="*/ 545305 h 1217132"/>
              <a:gd name="connsiteX3" fmla="*/ 1323974 w 1626394"/>
              <a:gd name="connsiteY3" fmla="*/ 0 h 1217132"/>
              <a:gd name="connsiteX4" fmla="*/ 923925 w 1626394"/>
              <a:gd name="connsiteY4" fmla="*/ 426244 h 1217132"/>
              <a:gd name="connsiteX5" fmla="*/ 621506 w 1626394"/>
              <a:gd name="connsiteY5" fmla="*/ 771524 h 1217132"/>
              <a:gd name="connsiteX6" fmla="*/ 0 w 1626394"/>
              <a:gd name="connsiteY6" fmla="*/ 538161 h 1217132"/>
              <a:gd name="connsiteX0" fmla="*/ 0 w 1626394"/>
              <a:gd name="connsiteY0" fmla="*/ 538161 h 1217132"/>
              <a:gd name="connsiteX1" fmla="*/ 0 w 1626394"/>
              <a:gd name="connsiteY1" fmla="*/ 1066799 h 1217132"/>
              <a:gd name="connsiteX2" fmla="*/ 1626394 w 1626394"/>
              <a:gd name="connsiteY2" fmla="*/ 545305 h 1217132"/>
              <a:gd name="connsiteX3" fmla="*/ 1323974 w 1626394"/>
              <a:gd name="connsiteY3" fmla="*/ 0 h 1217132"/>
              <a:gd name="connsiteX4" fmla="*/ 923925 w 1626394"/>
              <a:gd name="connsiteY4" fmla="*/ 426244 h 1217132"/>
              <a:gd name="connsiteX5" fmla="*/ 621506 w 1626394"/>
              <a:gd name="connsiteY5" fmla="*/ 771524 h 1217132"/>
              <a:gd name="connsiteX6" fmla="*/ 0 w 1626394"/>
              <a:gd name="connsiteY6" fmla="*/ 538161 h 1217132"/>
              <a:gd name="connsiteX0" fmla="*/ 0 w 1635310"/>
              <a:gd name="connsiteY0" fmla="*/ 538161 h 1066802"/>
              <a:gd name="connsiteX1" fmla="*/ 0 w 1635310"/>
              <a:gd name="connsiteY1" fmla="*/ 1066799 h 1066802"/>
              <a:gd name="connsiteX2" fmla="*/ 1626394 w 1635310"/>
              <a:gd name="connsiteY2" fmla="*/ 545305 h 1066802"/>
              <a:gd name="connsiteX3" fmla="*/ 1323974 w 1635310"/>
              <a:gd name="connsiteY3" fmla="*/ 0 h 1066802"/>
              <a:gd name="connsiteX4" fmla="*/ 923925 w 1635310"/>
              <a:gd name="connsiteY4" fmla="*/ 426244 h 1066802"/>
              <a:gd name="connsiteX5" fmla="*/ 621506 w 1635310"/>
              <a:gd name="connsiteY5" fmla="*/ 771524 h 1066802"/>
              <a:gd name="connsiteX6" fmla="*/ 0 w 1635310"/>
              <a:gd name="connsiteY6" fmla="*/ 538161 h 1066802"/>
              <a:gd name="connsiteX0" fmla="*/ 0 w 1632620"/>
              <a:gd name="connsiteY0" fmla="*/ 538161 h 1083110"/>
              <a:gd name="connsiteX1" fmla="*/ 0 w 1632620"/>
              <a:gd name="connsiteY1" fmla="*/ 1066799 h 1083110"/>
              <a:gd name="connsiteX2" fmla="*/ 1626394 w 1632620"/>
              <a:gd name="connsiteY2" fmla="*/ 545305 h 1083110"/>
              <a:gd name="connsiteX3" fmla="*/ 1323974 w 1632620"/>
              <a:gd name="connsiteY3" fmla="*/ 0 h 1083110"/>
              <a:gd name="connsiteX4" fmla="*/ 923925 w 1632620"/>
              <a:gd name="connsiteY4" fmla="*/ 426244 h 1083110"/>
              <a:gd name="connsiteX5" fmla="*/ 621506 w 1632620"/>
              <a:gd name="connsiteY5" fmla="*/ 771524 h 1083110"/>
              <a:gd name="connsiteX6" fmla="*/ 0 w 1632620"/>
              <a:gd name="connsiteY6" fmla="*/ 538161 h 1083110"/>
              <a:gd name="connsiteX0" fmla="*/ 0 w 1638832"/>
              <a:gd name="connsiteY0" fmla="*/ 538161 h 1079262"/>
              <a:gd name="connsiteX1" fmla="*/ 0 w 1638832"/>
              <a:gd name="connsiteY1" fmla="*/ 1066799 h 1079262"/>
              <a:gd name="connsiteX2" fmla="*/ 1626394 w 1638832"/>
              <a:gd name="connsiteY2" fmla="*/ 545305 h 1079262"/>
              <a:gd name="connsiteX3" fmla="*/ 1323974 w 1638832"/>
              <a:gd name="connsiteY3" fmla="*/ 0 h 1079262"/>
              <a:gd name="connsiteX4" fmla="*/ 923925 w 1638832"/>
              <a:gd name="connsiteY4" fmla="*/ 426244 h 1079262"/>
              <a:gd name="connsiteX5" fmla="*/ 621506 w 1638832"/>
              <a:gd name="connsiteY5" fmla="*/ 771524 h 1079262"/>
              <a:gd name="connsiteX6" fmla="*/ 0 w 1638832"/>
              <a:gd name="connsiteY6" fmla="*/ 538161 h 1079262"/>
              <a:gd name="connsiteX0" fmla="*/ 0 w 1629379"/>
              <a:gd name="connsiteY0" fmla="*/ 538161 h 1066897"/>
              <a:gd name="connsiteX1" fmla="*/ 0 w 1629379"/>
              <a:gd name="connsiteY1" fmla="*/ 1066799 h 1066897"/>
              <a:gd name="connsiteX2" fmla="*/ 1616869 w 1629379"/>
              <a:gd name="connsiteY2" fmla="*/ 409574 h 1066897"/>
              <a:gd name="connsiteX3" fmla="*/ 1323974 w 1629379"/>
              <a:gd name="connsiteY3" fmla="*/ 0 h 1066897"/>
              <a:gd name="connsiteX4" fmla="*/ 923925 w 1629379"/>
              <a:gd name="connsiteY4" fmla="*/ 426244 h 1066897"/>
              <a:gd name="connsiteX5" fmla="*/ 621506 w 1629379"/>
              <a:gd name="connsiteY5" fmla="*/ 771524 h 1066897"/>
              <a:gd name="connsiteX6" fmla="*/ 0 w 1629379"/>
              <a:gd name="connsiteY6" fmla="*/ 538161 h 1066897"/>
              <a:gd name="connsiteX0" fmla="*/ 0 w 1620913"/>
              <a:gd name="connsiteY0" fmla="*/ 538161 h 1107877"/>
              <a:gd name="connsiteX1" fmla="*/ 0 w 1620913"/>
              <a:gd name="connsiteY1" fmla="*/ 1066799 h 1107877"/>
              <a:gd name="connsiteX2" fmla="*/ 1616869 w 1620913"/>
              <a:gd name="connsiteY2" fmla="*/ 409574 h 1107877"/>
              <a:gd name="connsiteX3" fmla="*/ 1323974 w 1620913"/>
              <a:gd name="connsiteY3" fmla="*/ 0 h 1107877"/>
              <a:gd name="connsiteX4" fmla="*/ 923925 w 1620913"/>
              <a:gd name="connsiteY4" fmla="*/ 426244 h 1107877"/>
              <a:gd name="connsiteX5" fmla="*/ 621506 w 1620913"/>
              <a:gd name="connsiteY5" fmla="*/ 771524 h 1107877"/>
              <a:gd name="connsiteX6" fmla="*/ 0 w 1620913"/>
              <a:gd name="connsiteY6" fmla="*/ 538161 h 1107877"/>
              <a:gd name="connsiteX0" fmla="*/ 0 w 1620913"/>
              <a:gd name="connsiteY0" fmla="*/ 538161 h 1218265"/>
              <a:gd name="connsiteX1" fmla="*/ 0 w 1620913"/>
              <a:gd name="connsiteY1" fmla="*/ 1066799 h 1218265"/>
              <a:gd name="connsiteX2" fmla="*/ 1616869 w 1620913"/>
              <a:gd name="connsiteY2" fmla="*/ 409574 h 1218265"/>
              <a:gd name="connsiteX3" fmla="*/ 1323974 w 1620913"/>
              <a:gd name="connsiteY3" fmla="*/ 0 h 1218265"/>
              <a:gd name="connsiteX4" fmla="*/ 923925 w 1620913"/>
              <a:gd name="connsiteY4" fmla="*/ 426244 h 1218265"/>
              <a:gd name="connsiteX5" fmla="*/ 621506 w 1620913"/>
              <a:gd name="connsiteY5" fmla="*/ 771524 h 1218265"/>
              <a:gd name="connsiteX6" fmla="*/ 0 w 1620913"/>
              <a:gd name="connsiteY6" fmla="*/ 538161 h 1218265"/>
              <a:gd name="connsiteX0" fmla="*/ 0 w 1620913"/>
              <a:gd name="connsiteY0" fmla="*/ 538161 h 1066799"/>
              <a:gd name="connsiteX1" fmla="*/ 0 w 1620913"/>
              <a:gd name="connsiteY1" fmla="*/ 1066799 h 1066799"/>
              <a:gd name="connsiteX2" fmla="*/ 1616869 w 1620913"/>
              <a:gd name="connsiteY2" fmla="*/ 409574 h 1066799"/>
              <a:gd name="connsiteX3" fmla="*/ 1323974 w 1620913"/>
              <a:gd name="connsiteY3" fmla="*/ 0 h 1066799"/>
              <a:gd name="connsiteX4" fmla="*/ 923925 w 1620913"/>
              <a:gd name="connsiteY4" fmla="*/ 426244 h 1066799"/>
              <a:gd name="connsiteX5" fmla="*/ 621506 w 1620913"/>
              <a:gd name="connsiteY5" fmla="*/ 771524 h 1066799"/>
              <a:gd name="connsiteX6" fmla="*/ 0 w 1620913"/>
              <a:gd name="connsiteY6" fmla="*/ 538161 h 1066799"/>
              <a:gd name="connsiteX0" fmla="*/ 0 w 1620913"/>
              <a:gd name="connsiteY0" fmla="*/ 538161 h 1213299"/>
              <a:gd name="connsiteX1" fmla="*/ 0 w 1620913"/>
              <a:gd name="connsiteY1" fmla="*/ 1066799 h 1213299"/>
              <a:gd name="connsiteX2" fmla="*/ 1616869 w 1620913"/>
              <a:gd name="connsiteY2" fmla="*/ 409574 h 1213299"/>
              <a:gd name="connsiteX3" fmla="*/ 1323974 w 1620913"/>
              <a:gd name="connsiteY3" fmla="*/ 0 h 1213299"/>
              <a:gd name="connsiteX4" fmla="*/ 923925 w 1620913"/>
              <a:gd name="connsiteY4" fmla="*/ 426244 h 1213299"/>
              <a:gd name="connsiteX5" fmla="*/ 621506 w 1620913"/>
              <a:gd name="connsiteY5" fmla="*/ 771524 h 1213299"/>
              <a:gd name="connsiteX6" fmla="*/ 0 w 1620913"/>
              <a:gd name="connsiteY6" fmla="*/ 538161 h 121329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32881"/>
              <a:gd name="connsiteY0" fmla="*/ 538161 h 1232035"/>
              <a:gd name="connsiteX1" fmla="*/ 0 w 1632881"/>
              <a:gd name="connsiteY1" fmla="*/ 1066799 h 1232035"/>
              <a:gd name="connsiteX2" fmla="*/ 1621631 w 1632881"/>
              <a:gd name="connsiteY2" fmla="*/ 523874 h 1232035"/>
              <a:gd name="connsiteX3" fmla="*/ 1323974 w 1632881"/>
              <a:gd name="connsiteY3" fmla="*/ 0 h 1232035"/>
              <a:gd name="connsiteX4" fmla="*/ 923925 w 1632881"/>
              <a:gd name="connsiteY4" fmla="*/ 426244 h 1232035"/>
              <a:gd name="connsiteX5" fmla="*/ 621506 w 1632881"/>
              <a:gd name="connsiteY5" fmla="*/ 771524 h 1232035"/>
              <a:gd name="connsiteX6" fmla="*/ 0 w 1632881"/>
              <a:gd name="connsiteY6" fmla="*/ 538161 h 1232035"/>
              <a:gd name="connsiteX0" fmla="*/ 0 w 1622936"/>
              <a:gd name="connsiteY0" fmla="*/ 538161 h 1236750"/>
              <a:gd name="connsiteX1" fmla="*/ 0 w 1622936"/>
              <a:gd name="connsiteY1" fmla="*/ 1066799 h 1236750"/>
              <a:gd name="connsiteX2" fmla="*/ 1621631 w 1622936"/>
              <a:gd name="connsiteY2" fmla="*/ 523874 h 1236750"/>
              <a:gd name="connsiteX3" fmla="*/ 1323974 w 1622936"/>
              <a:gd name="connsiteY3" fmla="*/ 0 h 1236750"/>
              <a:gd name="connsiteX4" fmla="*/ 923925 w 1622936"/>
              <a:gd name="connsiteY4" fmla="*/ 426244 h 1236750"/>
              <a:gd name="connsiteX5" fmla="*/ 621506 w 1622936"/>
              <a:gd name="connsiteY5" fmla="*/ 771524 h 1236750"/>
              <a:gd name="connsiteX6" fmla="*/ 0 w 1622936"/>
              <a:gd name="connsiteY6" fmla="*/ 538161 h 1236750"/>
              <a:gd name="connsiteX0" fmla="*/ 0 w 1627932"/>
              <a:gd name="connsiteY0" fmla="*/ 538161 h 1227283"/>
              <a:gd name="connsiteX1" fmla="*/ 0 w 1627932"/>
              <a:gd name="connsiteY1" fmla="*/ 1066799 h 1227283"/>
              <a:gd name="connsiteX2" fmla="*/ 1621631 w 1627932"/>
              <a:gd name="connsiteY2" fmla="*/ 523874 h 1227283"/>
              <a:gd name="connsiteX3" fmla="*/ 1323974 w 1627932"/>
              <a:gd name="connsiteY3" fmla="*/ 0 h 1227283"/>
              <a:gd name="connsiteX4" fmla="*/ 923925 w 1627932"/>
              <a:gd name="connsiteY4" fmla="*/ 426244 h 1227283"/>
              <a:gd name="connsiteX5" fmla="*/ 621506 w 1627932"/>
              <a:gd name="connsiteY5" fmla="*/ 771524 h 1227283"/>
              <a:gd name="connsiteX6" fmla="*/ 0 w 1627932"/>
              <a:gd name="connsiteY6" fmla="*/ 538161 h 1227283"/>
              <a:gd name="connsiteX0" fmla="*/ 0 w 1627932"/>
              <a:gd name="connsiteY0" fmla="*/ 538161 h 1066799"/>
              <a:gd name="connsiteX1" fmla="*/ 0 w 1627932"/>
              <a:gd name="connsiteY1" fmla="*/ 1066799 h 1066799"/>
              <a:gd name="connsiteX2" fmla="*/ 1621631 w 1627932"/>
              <a:gd name="connsiteY2" fmla="*/ 523874 h 1066799"/>
              <a:gd name="connsiteX3" fmla="*/ 1323974 w 1627932"/>
              <a:gd name="connsiteY3" fmla="*/ 0 h 1066799"/>
              <a:gd name="connsiteX4" fmla="*/ 923925 w 1627932"/>
              <a:gd name="connsiteY4" fmla="*/ 426244 h 1066799"/>
              <a:gd name="connsiteX5" fmla="*/ 621506 w 1627932"/>
              <a:gd name="connsiteY5" fmla="*/ 771524 h 1066799"/>
              <a:gd name="connsiteX6" fmla="*/ 0 w 1627932"/>
              <a:gd name="connsiteY6" fmla="*/ 538161 h 1066799"/>
              <a:gd name="connsiteX0" fmla="*/ 0 w 1627647"/>
              <a:gd name="connsiteY0" fmla="*/ 538161 h 1066799"/>
              <a:gd name="connsiteX1" fmla="*/ 0 w 1627647"/>
              <a:gd name="connsiteY1" fmla="*/ 1066799 h 1066799"/>
              <a:gd name="connsiteX2" fmla="*/ 1621631 w 1627647"/>
              <a:gd name="connsiteY2" fmla="*/ 523874 h 1066799"/>
              <a:gd name="connsiteX3" fmla="*/ 1323974 w 1627647"/>
              <a:gd name="connsiteY3" fmla="*/ 0 h 1066799"/>
              <a:gd name="connsiteX4" fmla="*/ 923925 w 1627647"/>
              <a:gd name="connsiteY4" fmla="*/ 426244 h 1066799"/>
              <a:gd name="connsiteX5" fmla="*/ 621506 w 1627647"/>
              <a:gd name="connsiteY5" fmla="*/ 771524 h 1066799"/>
              <a:gd name="connsiteX6" fmla="*/ 0 w 1627647"/>
              <a:gd name="connsiteY6" fmla="*/ 538161 h 1066799"/>
              <a:gd name="connsiteX0" fmla="*/ 0 w 1627647"/>
              <a:gd name="connsiteY0" fmla="*/ 538161 h 1066799"/>
              <a:gd name="connsiteX1" fmla="*/ 0 w 1627647"/>
              <a:gd name="connsiteY1" fmla="*/ 1066799 h 1066799"/>
              <a:gd name="connsiteX2" fmla="*/ 1621631 w 1627647"/>
              <a:gd name="connsiteY2" fmla="*/ 523874 h 1066799"/>
              <a:gd name="connsiteX3" fmla="*/ 1323974 w 1627647"/>
              <a:gd name="connsiteY3" fmla="*/ 0 h 1066799"/>
              <a:gd name="connsiteX4" fmla="*/ 923925 w 1627647"/>
              <a:gd name="connsiteY4" fmla="*/ 426244 h 1066799"/>
              <a:gd name="connsiteX5" fmla="*/ 621506 w 1627647"/>
              <a:gd name="connsiteY5" fmla="*/ 771524 h 1066799"/>
              <a:gd name="connsiteX6" fmla="*/ 0 w 1627647"/>
              <a:gd name="connsiteY6" fmla="*/ 538161 h 1066799"/>
              <a:gd name="connsiteX0" fmla="*/ 0 w 1627647"/>
              <a:gd name="connsiteY0" fmla="*/ 538161 h 1134969"/>
              <a:gd name="connsiteX1" fmla="*/ 0 w 1627647"/>
              <a:gd name="connsiteY1" fmla="*/ 1066799 h 1134969"/>
              <a:gd name="connsiteX2" fmla="*/ 1621631 w 1627647"/>
              <a:gd name="connsiteY2" fmla="*/ 523874 h 1134969"/>
              <a:gd name="connsiteX3" fmla="*/ 1323974 w 1627647"/>
              <a:gd name="connsiteY3" fmla="*/ 0 h 1134969"/>
              <a:gd name="connsiteX4" fmla="*/ 923925 w 1627647"/>
              <a:gd name="connsiteY4" fmla="*/ 426244 h 1134969"/>
              <a:gd name="connsiteX5" fmla="*/ 621506 w 1627647"/>
              <a:gd name="connsiteY5" fmla="*/ 771524 h 1134969"/>
              <a:gd name="connsiteX6" fmla="*/ 0 w 1627647"/>
              <a:gd name="connsiteY6" fmla="*/ 538161 h 1134969"/>
              <a:gd name="connsiteX0" fmla="*/ 0 w 1627647"/>
              <a:gd name="connsiteY0" fmla="*/ 538161 h 1213483"/>
              <a:gd name="connsiteX1" fmla="*/ 0 w 1627647"/>
              <a:gd name="connsiteY1" fmla="*/ 1066799 h 1213483"/>
              <a:gd name="connsiteX2" fmla="*/ 1621631 w 1627647"/>
              <a:gd name="connsiteY2" fmla="*/ 523874 h 1213483"/>
              <a:gd name="connsiteX3" fmla="*/ 1323974 w 1627647"/>
              <a:gd name="connsiteY3" fmla="*/ 0 h 1213483"/>
              <a:gd name="connsiteX4" fmla="*/ 923925 w 1627647"/>
              <a:gd name="connsiteY4" fmla="*/ 426244 h 1213483"/>
              <a:gd name="connsiteX5" fmla="*/ 621506 w 1627647"/>
              <a:gd name="connsiteY5" fmla="*/ 771524 h 1213483"/>
              <a:gd name="connsiteX6" fmla="*/ 0 w 1627647"/>
              <a:gd name="connsiteY6" fmla="*/ 538161 h 1213483"/>
              <a:gd name="connsiteX0" fmla="*/ 0 w 1627647"/>
              <a:gd name="connsiteY0" fmla="*/ 538161 h 1190326"/>
              <a:gd name="connsiteX1" fmla="*/ 0 w 1627647"/>
              <a:gd name="connsiteY1" fmla="*/ 1066799 h 1190326"/>
              <a:gd name="connsiteX2" fmla="*/ 1621631 w 1627647"/>
              <a:gd name="connsiteY2" fmla="*/ 523874 h 1190326"/>
              <a:gd name="connsiteX3" fmla="*/ 1323974 w 1627647"/>
              <a:gd name="connsiteY3" fmla="*/ 0 h 1190326"/>
              <a:gd name="connsiteX4" fmla="*/ 923925 w 1627647"/>
              <a:gd name="connsiteY4" fmla="*/ 426244 h 1190326"/>
              <a:gd name="connsiteX5" fmla="*/ 621506 w 1627647"/>
              <a:gd name="connsiteY5" fmla="*/ 771524 h 1190326"/>
              <a:gd name="connsiteX6" fmla="*/ 0 w 1627647"/>
              <a:gd name="connsiteY6" fmla="*/ 538161 h 1190326"/>
              <a:gd name="connsiteX0" fmla="*/ 0 w 1627647"/>
              <a:gd name="connsiteY0" fmla="*/ 538161 h 1219698"/>
              <a:gd name="connsiteX1" fmla="*/ 0 w 1627647"/>
              <a:gd name="connsiteY1" fmla="*/ 1066799 h 1219698"/>
              <a:gd name="connsiteX2" fmla="*/ 1621631 w 1627647"/>
              <a:gd name="connsiteY2" fmla="*/ 523874 h 1219698"/>
              <a:gd name="connsiteX3" fmla="*/ 1323974 w 1627647"/>
              <a:gd name="connsiteY3" fmla="*/ 0 h 1219698"/>
              <a:gd name="connsiteX4" fmla="*/ 923925 w 1627647"/>
              <a:gd name="connsiteY4" fmla="*/ 426244 h 1219698"/>
              <a:gd name="connsiteX5" fmla="*/ 621506 w 1627647"/>
              <a:gd name="connsiteY5" fmla="*/ 771524 h 1219698"/>
              <a:gd name="connsiteX6" fmla="*/ 0 w 1627647"/>
              <a:gd name="connsiteY6" fmla="*/ 538161 h 1219698"/>
              <a:gd name="connsiteX0" fmla="*/ 0 w 1627647"/>
              <a:gd name="connsiteY0" fmla="*/ 538161 h 1232307"/>
              <a:gd name="connsiteX1" fmla="*/ 0 w 1627647"/>
              <a:gd name="connsiteY1" fmla="*/ 1066799 h 1232307"/>
              <a:gd name="connsiteX2" fmla="*/ 1621631 w 1627647"/>
              <a:gd name="connsiteY2" fmla="*/ 523874 h 1232307"/>
              <a:gd name="connsiteX3" fmla="*/ 1323974 w 1627647"/>
              <a:gd name="connsiteY3" fmla="*/ 0 h 1232307"/>
              <a:gd name="connsiteX4" fmla="*/ 923925 w 1627647"/>
              <a:gd name="connsiteY4" fmla="*/ 426244 h 1232307"/>
              <a:gd name="connsiteX5" fmla="*/ 621506 w 1627647"/>
              <a:gd name="connsiteY5" fmla="*/ 771524 h 1232307"/>
              <a:gd name="connsiteX6" fmla="*/ 0 w 1627647"/>
              <a:gd name="connsiteY6" fmla="*/ 538161 h 1232307"/>
              <a:gd name="connsiteX0" fmla="*/ 0 w 1627647"/>
              <a:gd name="connsiteY0" fmla="*/ 538161 h 1217230"/>
              <a:gd name="connsiteX1" fmla="*/ 0 w 1627647"/>
              <a:gd name="connsiteY1" fmla="*/ 1066799 h 1217230"/>
              <a:gd name="connsiteX2" fmla="*/ 1621631 w 1627647"/>
              <a:gd name="connsiteY2" fmla="*/ 523874 h 1217230"/>
              <a:gd name="connsiteX3" fmla="*/ 1323974 w 1627647"/>
              <a:gd name="connsiteY3" fmla="*/ 0 h 1217230"/>
              <a:gd name="connsiteX4" fmla="*/ 923925 w 1627647"/>
              <a:gd name="connsiteY4" fmla="*/ 426244 h 1217230"/>
              <a:gd name="connsiteX5" fmla="*/ 621506 w 1627647"/>
              <a:gd name="connsiteY5" fmla="*/ 771524 h 1217230"/>
              <a:gd name="connsiteX6" fmla="*/ 0 w 1627647"/>
              <a:gd name="connsiteY6" fmla="*/ 538161 h 1217230"/>
              <a:gd name="connsiteX0" fmla="*/ 0 w 1627647"/>
              <a:gd name="connsiteY0" fmla="*/ 538161 h 1188997"/>
              <a:gd name="connsiteX1" fmla="*/ 0 w 1627647"/>
              <a:gd name="connsiteY1" fmla="*/ 1066799 h 1188997"/>
              <a:gd name="connsiteX2" fmla="*/ 1621631 w 1627647"/>
              <a:gd name="connsiteY2" fmla="*/ 523874 h 1188997"/>
              <a:gd name="connsiteX3" fmla="*/ 1323974 w 1627647"/>
              <a:gd name="connsiteY3" fmla="*/ 0 h 1188997"/>
              <a:gd name="connsiteX4" fmla="*/ 923925 w 1627647"/>
              <a:gd name="connsiteY4" fmla="*/ 426244 h 1188997"/>
              <a:gd name="connsiteX5" fmla="*/ 621506 w 1627647"/>
              <a:gd name="connsiteY5" fmla="*/ 771524 h 1188997"/>
              <a:gd name="connsiteX6" fmla="*/ 0 w 1627647"/>
              <a:gd name="connsiteY6" fmla="*/ 538161 h 1188997"/>
              <a:gd name="connsiteX0" fmla="*/ 0 w 1627647"/>
              <a:gd name="connsiteY0" fmla="*/ 538161 h 1216261"/>
              <a:gd name="connsiteX1" fmla="*/ 0 w 1627647"/>
              <a:gd name="connsiteY1" fmla="*/ 1066799 h 1216261"/>
              <a:gd name="connsiteX2" fmla="*/ 1621631 w 1627647"/>
              <a:gd name="connsiteY2" fmla="*/ 523874 h 1216261"/>
              <a:gd name="connsiteX3" fmla="*/ 1323974 w 1627647"/>
              <a:gd name="connsiteY3" fmla="*/ 0 h 1216261"/>
              <a:gd name="connsiteX4" fmla="*/ 923925 w 1627647"/>
              <a:gd name="connsiteY4" fmla="*/ 426244 h 1216261"/>
              <a:gd name="connsiteX5" fmla="*/ 621506 w 1627647"/>
              <a:gd name="connsiteY5" fmla="*/ 771524 h 1216261"/>
              <a:gd name="connsiteX6" fmla="*/ 0 w 1627647"/>
              <a:gd name="connsiteY6" fmla="*/ 538161 h 1216261"/>
              <a:gd name="connsiteX0" fmla="*/ 0 w 1627647"/>
              <a:gd name="connsiteY0" fmla="*/ 538161 h 1206398"/>
              <a:gd name="connsiteX1" fmla="*/ 0 w 1627647"/>
              <a:gd name="connsiteY1" fmla="*/ 1066799 h 1206398"/>
              <a:gd name="connsiteX2" fmla="*/ 1621631 w 1627647"/>
              <a:gd name="connsiteY2" fmla="*/ 523874 h 1206398"/>
              <a:gd name="connsiteX3" fmla="*/ 1323974 w 1627647"/>
              <a:gd name="connsiteY3" fmla="*/ 0 h 1206398"/>
              <a:gd name="connsiteX4" fmla="*/ 923925 w 1627647"/>
              <a:gd name="connsiteY4" fmla="*/ 426244 h 1206398"/>
              <a:gd name="connsiteX5" fmla="*/ 621506 w 1627647"/>
              <a:gd name="connsiteY5" fmla="*/ 771524 h 1206398"/>
              <a:gd name="connsiteX6" fmla="*/ 0 w 1627647"/>
              <a:gd name="connsiteY6" fmla="*/ 538161 h 1206398"/>
              <a:gd name="connsiteX0" fmla="*/ 0 w 1627647"/>
              <a:gd name="connsiteY0" fmla="*/ 538161 h 1218880"/>
              <a:gd name="connsiteX1" fmla="*/ 0 w 1627647"/>
              <a:gd name="connsiteY1" fmla="*/ 1066799 h 1218880"/>
              <a:gd name="connsiteX2" fmla="*/ 1621631 w 1627647"/>
              <a:gd name="connsiteY2" fmla="*/ 523874 h 1218880"/>
              <a:gd name="connsiteX3" fmla="*/ 1323974 w 1627647"/>
              <a:gd name="connsiteY3" fmla="*/ 0 h 1218880"/>
              <a:gd name="connsiteX4" fmla="*/ 923925 w 1627647"/>
              <a:gd name="connsiteY4" fmla="*/ 426244 h 1218880"/>
              <a:gd name="connsiteX5" fmla="*/ 621506 w 1627647"/>
              <a:gd name="connsiteY5" fmla="*/ 771524 h 1218880"/>
              <a:gd name="connsiteX6" fmla="*/ 0 w 1627647"/>
              <a:gd name="connsiteY6" fmla="*/ 538161 h 1218880"/>
              <a:gd name="connsiteX0" fmla="*/ 0 w 1627647"/>
              <a:gd name="connsiteY0" fmla="*/ 538161 h 1211596"/>
              <a:gd name="connsiteX1" fmla="*/ 0 w 1627647"/>
              <a:gd name="connsiteY1" fmla="*/ 1066799 h 1211596"/>
              <a:gd name="connsiteX2" fmla="*/ 1621631 w 1627647"/>
              <a:gd name="connsiteY2" fmla="*/ 523874 h 1211596"/>
              <a:gd name="connsiteX3" fmla="*/ 1323974 w 1627647"/>
              <a:gd name="connsiteY3" fmla="*/ 0 h 1211596"/>
              <a:gd name="connsiteX4" fmla="*/ 923925 w 1627647"/>
              <a:gd name="connsiteY4" fmla="*/ 426244 h 1211596"/>
              <a:gd name="connsiteX5" fmla="*/ 621506 w 1627647"/>
              <a:gd name="connsiteY5" fmla="*/ 771524 h 1211596"/>
              <a:gd name="connsiteX6" fmla="*/ 0 w 1627647"/>
              <a:gd name="connsiteY6" fmla="*/ 538161 h 1211596"/>
              <a:gd name="connsiteX0" fmla="*/ 0 w 1627647"/>
              <a:gd name="connsiteY0" fmla="*/ 538161 h 1217962"/>
              <a:gd name="connsiteX1" fmla="*/ 0 w 1627647"/>
              <a:gd name="connsiteY1" fmla="*/ 1066799 h 1217962"/>
              <a:gd name="connsiteX2" fmla="*/ 1621631 w 1627647"/>
              <a:gd name="connsiteY2" fmla="*/ 523874 h 1217962"/>
              <a:gd name="connsiteX3" fmla="*/ 1323974 w 1627647"/>
              <a:gd name="connsiteY3" fmla="*/ 0 h 1217962"/>
              <a:gd name="connsiteX4" fmla="*/ 923925 w 1627647"/>
              <a:gd name="connsiteY4" fmla="*/ 426244 h 1217962"/>
              <a:gd name="connsiteX5" fmla="*/ 621506 w 1627647"/>
              <a:gd name="connsiteY5" fmla="*/ 771524 h 1217962"/>
              <a:gd name="connsiteX6" fmla="*/ 0 w 1627647"/>
              <a:gd name="connsiteY6" fmla="*/ 538161 h 1217962"/>
              <a:gd name="connsiteX0" fmla="*/ 0 w 1627647"/>
              <a:gd name="connsiteY0" fmla="*/ 538161 h 1218399"/>
              <a:gd name="connsiteX1" fmla="*/ 0 w 1627647"/>
              <a:gd name="connsiteY1" fmla="*/ 1066799 h 1218399"/>
              <a:gd name="connsiteX2" fmla="*/ 1621631 w 1627647"/>
              <a:gd name="connsiteY2" fmla="*/ 523874 h 1218399"/>
              <a:gd name="connsiteX3" fmla="*/ 1323974 w 1627647"/>
              <a:gd name="connsiteY3" fmla="*/ 0 h 1218399"/>
              <a:gd name="connsiteX4" fmla="*/ 923925 w 1627647"/>
              <a:gd name="connsiteY4" fmla="*/ 426244 h 1218399"/>
              <a:gd name="connsiteX5" fmla="*/ 621506 w 1627647"/>
              <a:gd name="connsiteY5" fmla="*/ 771524 h 1218399"/>
              <a:gd name="connsiteX6" fmla="*/ 0 w 1627647"/>
              <a:gd name="connsiteY6" fmla="*/ 538161 h 1218399"/>
              <a:gd name="connsiteX0" fmla="*/ 0 w 1627647"/>
              <a:gd name="connsiteY0" fmla="*/ 538161 h 1212839"/>
              <a:gd name="connsiteX1" fmla="*/ 0 w 1627647"/>
              <a:gd name="connsiteY1" fmla="*/ 1066799 h 1212839"/>
              <a:gd name="connsiteX2" fmla="*/ 1621631 w 1627647"/>
              <a:gd name="connsiteY2" fmla="*/ 523874 h 1212839"/>
              <a:gd name="connsiteX3" fmla="*/ 1323974 w 1627647"/>
              <a:gd name="connsiteY3" fmla="*/ 0 h 1212839"/>
              <a:gd name="connsiteX4" fmla="*/ 923925 w 1627647"/>
              <a:gd name="connsiteY4" fmla="*/ 426244 h 1212839"/>
              <a:gd name="connsiteX5" fmla="*/ 621506 w 1627647"/>
              <a:gd name="connsiteY5" fmla="*/ 771524 h 1212839"/>
              <a:gd name="connsiteX6" fmla="*/ 0 w 1627647"/>
              <a:gd name="connsiteY6" fmla="*/ 538161 h 1212839"/>
              <a:gd name="connsiteX0" fmla="*/ 0 w 1627647"/>
              <a:gd name="connsiteY0" fmla="*/ 538161 h 1212839"/>
              <a:gd name="connsiteX1" fmla="*/ 0 w 1627647"/>
              <a:gd name="connsiteY1" fmla="*/ 1066799 h 1212839"/>
              <a:gd name="connsiteX2" fmla="*/ 1621631 w 1627647"/>
              <a:gd name="connsiteY2" fmla="*/ 523874 h 1212839"/>
              <a:gd name="connsiteX3" fmla="*/ 1323974 w 1627647"/>
              <a:gd name="connsiteY3" fmla="*/ 0 h 1212839"/>
              <a:gd name="connsiteX4" fmla="*/ 1078707 w 1627647"/>
              <a:gd name="connsiteY4" fmla="*/ 257177 h 1212839"/>
              <a:gd name="connsiteX5" fmla="*/ 923925 w 1627647"/>
              <a:gd name="connsiteY5" fmla="*/ 426244 h 1212839"/>
              <a:gd name="connsiteX6" fmla="*/ 621506 w 1627647"/>
              <a:gd name="connsiteY6" fmla="*/ 771524 h 1212839"/>
              <a:gd name="connsiteX7" fmla="*/ 0 w 1627647"/>
              <a:gd name="connsiteY7" fmla="*/ 538161 h 1212839"/>
              <a:gd name="connsiteX0" fmla="*/ 0 w 1627647"/>
              <a:gd name="connsiteY0" fmla="*/ 538161 h 1212839"/>
              <a:gd name="connsiteX1" fmla="*/ 0 w 1627647"/>
              <a:gd name="connsiteY1" fmla="*/ 1066799 h 1212839"/>
              <a:gd name="connsiteX2" fmla="*/ 1621631 w 1627647"/>
              <a:gd name="connsiteY2" fmla="*/ 523874 h 1212839"/>
              <a:gd name="connsiteX3" fmla="*/ 1323974 w 1627647"/>
              <a:gd name="connsiteY3" fmla="*/ 0 h 1212839"/>
              <a:gd name="connsiteX4" fmla="*/ 595313 w 1627647"/>
              <a:gd name="connsiteY4" fmla="*/ 185739 h 1212839"/>
              <a:gd name="connsiteX5" fmla="*/ 923925 w 1627647"/>
              <a:gd name="connsiteY5" fmla="*/ 426244 h 1212839"/>
              <a:gd name="connsiteX6" fmla="*/ 621506 w 1627647"/>
              <a:gd name="connsiteY6" fmla="*/ 771524 h 1212839"/>
              <a:gd name="connsiteX7" fmla="*/ 0 w 1627647"/>
              <a:gd name="connsiteY7" fmla="*/ 538161 h 1212839"/>
              <a:gd name="connsiteX0" fmla="*/ 0 w 1627647"/>
              <a:gd name="connsiteY0" fmla="*/ 538161 h 1212839"/>
              <a:gd name="connsiteX1" fmla="*/ 0 w 1627647"/>
              <a:gd name="connsiteY1" fmla="*/ 1066799 h 1212839"/>
              <a:gd name="connsiteX2" fmla="*/ 1621631 w 1627647"/>
              <a:gd name="connsiteY2" fmla="*/ 523874 h 1212839"/>
              <a:gd name="connsiteX3" fmla="*/ 1323974 w 1627647"/>
              <a:gd name="connsiteY3" fmla="*/ 0 h 1212839"/>
              <a:gd name="connsiteX4" fmla="*/ 973932 w 1627647"/>
              <a:gd name="connsiteY4" fmla="*/ 85727 h 1212839"/>
              <a:gd name="connsiteX5" fmla="*/ 595313 w 1627647"/>
              <a:gd name="connsiteY5" fmla="*/ 185739 h 1212839"/>
              <a:gd name="connsiteX6" fmla="*/ 923925 w 1627647"/>
              <a:gd name="connsiteY6" fmla="*/ 426244 h 1212839"/>
              <a:gd name="connsiteX7" fmla="*/ 621506 w 1627647"/>
              <a:gd name="connsiteY7" fmla="*/ 771524 h 1212839"/>
              <a:gd name="connsiteX8" fmla="*/ 0 w 1627647"/>
              <a:gd name="connsiteY8" fmla="*/ 538161 h 1212839"/>
              <a:gd name="connsiteX0" fmla="*/ 0 w 1627647"/>
              <a:gd name="connsiteY0" fmla="*/ 745328 h 1420006"/>
              <a:gd name="connsiteX1" fmla="*/ 0 w 1627647"/>
              <a:gd name="connsiteY1" fmla="*/ 1273966 h 1420006"/>
              <a:gd name="connsiteX2" fmla="*/ 1621631 w 1627647"/>
              <a:gd name="connsiteY2" fmla="*/ 731041 h 1420006"/>
              <a:gd name="connsiteX3" fmla="*/ 1323974 w 1627647"/>
              <a:gd name="connsiteY3" fmla="*/ 207167 h 1420006"/>
              <a:gd name="connsiteX4" fmla="*/ 835820 w 1627647"/>
              <a:gd name="connsiteY4" fmla="*/ 0 h 1420006"/>
              <a:gd name="connsiteX5" fmla="*/ 595313 w 1627647"/>
              <a:gd name="connsiteY5" fmla="*/ 392906 h 1420006"/>
              <a:gd name="connsiteX6" fmla="*/ 923925 w 1627647"/>
              <a:gd name="connsiteY6" fmla="*/ 633411 h 1420006"/>
              <a:gd name="connsiteX7" fmla="*/ 621506 w 1627647"/>
              <a:gd name="connsiteY7" fmla="*/ 978691 h 1420006"/>
              <a:gd name="connsiteX8" fmla="*/ 0 w 1627647"/>
              <a:gd name="connsiteY8" fmla="*/ 745328 h 1420006"/>
              <a:gd name="connsiteX0" fmla="*/ 0 w 1591281"/>
              <a:gd name="connsiteY0" fmla="*/ 745328 h 1469663"/>
              <a:gd name="connsiteX1" fmla="*/ 0 w 1591281"/>
              <a:gd name="connsiteY1" fmla="*/ 1273966 h 1469663"/>
              <a:gd name="connsiteX2" fmla="*/ 1574006 w 1591281"/>
              <a:gd name="connsiteY2" fmla="*/ 928685 h 1469663"/>
              <a:gd name="connsiteX3" fmla="*/ 1323974 w 1591281"/>
              <a:gd name="connsiteY3" fmla="*/ 207167 h 1469663"/>
              <a:gd name="connsiteX4" fmla="*/ 835820 w 1591281"/>
              <a:gd name="connsiteY4" fmla="*/ 0 h 1469663"/>
              <a:gd name="connsiteX5" fmla="*/ 595313 w 1591281"/>
              <a:gd name="connsiteY5" fmla="*/ 392906 h 1469663"/>
              <a:gd name="connsiteX6" fmla="*/ 923925 w 1591281"/>
              <a:gd name="connsiteY6" fmla="*/ 633411 h 1469663"/>
              <a:gd name="connsiteX7" fmla="*/ 621506 w 1591281"/>
              <a:gd name="connsiteY7" fmla="*/ 978691 h 1469663"/>
              <a:gd name="connsiteX8" fmla="*/ 0 w 1591281"/>
              <a:gd name="connsiteY8" fmla="*/ 745328 h 1469663"/>
              <a:gd name="connsiteX0" fmla="*/ 0 w 1591281"/>
              <a:gd name="connsiteY0" fmla="*/ 745328 h 1425021"/>
              <a:gd name="connsiteX1" fmla="*/ 0 w 1591281"/>
              <a:gd name="connsiteY1" fmla="*/ 1273966 h 1425021"/>
              <a:gd name="connsiteX2" fmla="*/ 1574006 w 1591281"/>
              <a:gd name="connsiteY2" fmla="*/ 928685 h 1425021"/>
              <a:gd name="connsiteX3" fmla="*/ 1323974 w 1591281"/>
              <a:gd name="connsiteY3" fmla="*/ 207167 h 1425021"/>
              <a:gd name="connsiteX4" fmla="*/ 835820 w 1591281"/>
              <a:gd name="connsiteY4" fmla="*/ 0 h 1425021"/>
              <a:gd name="connsiteX5" fmla="*/ 595313 w 1591281"/>
              <a:gd name="connsiteY5" fmla="*/ 392906 h 1425021"/>
              <a:gd name="connsiteX6" fmla="*/ 923925 w 1591281"/>
              <a:gd name="connsiteY6" fmla="*/ 633411 h 1425021"/>
              <a:gd name="connsiteX7" fmla="*/ 621506 w 1591281"/>
              <a:gd name="connsiteY7" fmla="*/ 978691 h 1425021"/>
              <a:gd name="connsiteX8" fmla="*/ 0 w 1591281"/>
              <a:gd name="connsiteY8" fmla="*/ 745328 h 1425021"/>
              <a:gd name="connsiteX0" fmla="*/ 0 w 1622856"/>
              <a:gd name="connsiteY0" fmla="*/ 745328 h 1425021"/>
              <a:gd name="connsiteX1" fmla="*/ 0 w 1622856"/>
              <a:gd name="connsiteY1" fmla="*/ 1273966 h 1425021"/>
              <a:gd name="connsiteX2" fmla="*/ 1574006 w 1622856"/>
              <a:gd name="connsiteY2" fmla="*/ 928685 h 1425021"/>
              <a:gd name="connsiteX3" fmla="*/ 1323974 w 1622856"/>
              <a:gd name="connsiteY3" fmla="*/ 207167 h 1425021"/>
              <a:gd name="connsiteX4" fmla="*/ 835820 w 1622856"/>
              <a:gd name="connsiteY4" fmla="*/ 0 h 1425021"/>
              <a:gd name="connsiteX5" fmla="*/ 595313 w 1622856"/>
              <a:gd name="connsiteY5" fmla="*/ 392906 h 1425021"/>
              <a:gd name="connsiteX6" fmla="*/ 923925 w 1622856"/>
              <a:gd name="connsiteY6" fmla="*/ 633411 h 1425021"/>
              <a:gd name="connsiteX7" fmla="*/ 621506 w 1622856"/>
              <a:gd name="connsiteY7" fmla="*/ 978691 h 1425021"/>
              <a:gd name="connsiteX8" fmla="*/ 0 w 1622856"/>
              <a:gd name="connsiteY8" fmla="*/ 745328 h 1425021"/>
              <a:gd name="connsiteX0" fmla="*/ 0 w 1608710"/>
              <a:gd name="connsiteY0" fmla="*/ 745328 h 1425021"/>
              <a:gd name="connsiteX1" fmla="*/ 0 w 1608710"/>
              <a:gd name="connsiteY1" fmla="*/ 1273966 h 1425021"/>
              <a:gd name="connsiteX2" fmla="*/ 1574006 w 1608710"/>
              <a:gd name="connsiteY2" fmla="*/ 928685 h 1425021"/>
              <a:gd name="connsiteX3" fmla="*/ 1264443 w 1608710"/>
              <a:gd name="connsiteY3" fmla="*/ 166686 h 1425021"/>
              <a:gd name="connsiteX4" fmla="*/ 835820 w 1608710"/>
              <a:gd name="connsiteY4" fmla="*/ 0 h 1425021"/>
              <a:gd name="connsiteX5" fmla="*/ 595313 w 1608710"/>
              <a:gd name="connsiteY5" fmla="*/ 392906 h 1425021"/>
              <a:gd name="connsiteX6" fmla="*/ 923925 w 1608710"/>
              <a:gd name="connsiteY6" fmla="*/ 633411 h 1425021"/>
              <a:gd name="connsiteX7" fmla="*/ 621506 w 1608710"/>
              <a:gd name="connsiteY7" fmla="*/ 978691 h 1425021"/>
              <a:gd name="connsiteX8" fmla="*/ 0 w 1608710"/>
              <a:gd name="connsiteY8" fmla="*/ 745328 h 1425021"/>
              <a:gd name="connsiteX0" fmla="*/ 0 w 1623138"/>
              <a:gd name="connsiteY0" fmla="*/ 745328 h 1425021"/>
              <a:gd name="connsiteX1" fmla="*/ 0 w 1623138"/>
              <a:gd name="connsiteY1" fmla="*/ 1273966 h 1425021"/>
              <a:gd name="connsiteX2" fmla="*/ 1574006 w 1623138"/>
              <a:gd name="connsiteY2" fmla="*/ 928685 h 1425021"/>
              <a:gd name="connsiteX3" fmla="*/ 1264443 w 1623138"/>
              <a:gd name="connsiteY3" fmla="*/ 166686 h 1425021"/>
              <a:gd name="connsiteX4" fmla="*/ 835820 w 1623138"/>
              <a:gd name="connsiteY4" fmla="*/ 0 h 1425021"/>
              <a:gd name="connsiteX5" fmla="*/ 595313 w 1623138"/>
              <a:gd name="connsiteY5" fmla="*/ 392906 h 1425021"/>
              <a:gd name="connsiteX6" fmla="*/ 923925 w 1623138"/>
              <a:gd name="connsiteY6" fmla="*/ 633411 h 1425021"/>
              <a:gd name="connsiteX7" fmla="*/ 621506 w 1623138"/>
              <a:gd name="connsiteY7" fmla="*/ 978691 h 1425021"/>
              <a:gd name="connsiteX8" fmla="*/ 0 w 1623138"/>
              <a:gd name="connsiteY8" fmla="*/ 745328 h 1425021"/>
              <a:gd name="connsiteX0" fmla="*/ 0 w 1623138"/>
              <a:gd name="connsiteY0" fmla="*/ 745328 h 1425021"/>
              <a:gd name="connsiteX1" fmla="*/ 0 w 1623138"/>
              <a:gd name="connsiteY1" fmla="*/ 1273966 h 1425021"/>
              <a:gd name="connsiteX2" fmla="*/ 1574006 w 1623138"/>
              <a:gd name="connsiteY2" fmla="*/ 928685 h 1425021"/>
              <a:gd name="connsiteX3" fmla="*/ 1264443 w 1623138"/>
              <a:gd name="connsiteY3" fmla="*/ 166686 h 1425021"/>
              <a:gd name="connsiteX4" fmla="*/ 835820 w 1623138"/>
              <a:gd name="connsiteY4" fmla="*/ 0 h 1425021"/>
              <a:gd name="connsiteX5" fmla="*/ 595313 w 1623138"/>
              <a:gd name="connsiteY5" fmla="*/ 392906 h 1425021"/>
              <a:gd name="connsiteX6" fmla="*/ 923925 w 1623138"/>
              <a:gd name="connsiteY6" fmla="*/ 633411 h 1425021"/>
              <a:gd name="connsiteX7" fmla="*/ 621506 w 1623138"/>
              <a:gd name="connsiteY7" fmla="*/ 978691 h 1425021"/>
              <a:gd name="connsiteX8" fmla="*/ 0 w 1623138"/>
              <a:gd name="connsiteY8" fmla="*/ 745328 h 1425021"/>
              <a:gd name="connsiteX0" fmla="*/ 0 w 1623138"/>
              <a:gd name="connsiteY0" fmla="*/ 745328 h 1425021"/>
              <a:gd name="connsiteX1" fmla="*/ 0 w 1623138"/>
              <a:gd name="connsiteY1" fmla="*/ 1273966 h 1425021"/>
              <a:gd name="connsiteX2" fmla="*/ 1574006 w 1623138"/>
              <a:gd name="connsiteY2" fmla="*/ 928685 h 1425021"/>
              <a:gd name="connsiteX3" fmla="*/ 1264443 w 1623138"/>
              <a:gd name="connsiteY3" fmla="*/ 166686 h 1425021"/>
              <a:gd name="connsiteX4" fmla="*/ 835820 w 1623138"/>
              <a:gd name="connsiteY4" fmla="*/ 0 h 1425021"/>
              <a:gd name="connsiteX5" fmla="*/ 709613 w 1623138"/>
              <a:gd name="connsiteY5" fmla="*/ 207169 h 1425021"/>
              <a:gd name="connsiteX6" fmla="*/ 595313 w 1623138"/>
              <a:gd name="connsiteY6" fmla="*/ 392906 h 1425021"/>
              <a:gd name="connsiteX7" fmla="*/ 923925 w 1623138"/>
              <a:gd name="connsiteY7" fmla="*/ 633411 h 1425021"/>
              <a:gd name="connsiteX8" fmla="*/ 621506 w 1623138"/>
              <a:gd name="connsiteY8" fmla="*/ 978691 h 1425021"/>
              <a:gd name="connsiteX9" fmla="*/ 0 w 1623138"/>
              <a:gd name="connsiteY9" fmla="*/ 745328 h 1425021"/>
              <a:gd name="connsiteX0" fmla="*/ 0 w 1623138"/>
              <a:gd name="connsiteY0" fmla="*/ 797716 h 1477409"/>
              <a:gd name="connsiteX1" fmla="*/ 0 w 1623138"/>
              <a:gd name="connsiteY1" fmla="*/ 1326354 h 1477409"/>
              <a:gd name="connsiteX2" fmla="*/ 1574006 w 1623138"/>
              <a:gd name="connsiteY2" fmla="*/ 981073 h 1477409"/>
              <a:gd name="connsiteX3" fmla="*/ 1264443 w 1623138"/>
              <a:gd name="connsiteY3" fmla="*/ 219074 h 1477409"/>
              <a:gd name="connsiteX4" fmla="*/ 835820 w 1623138"/>
              <a:gd name="connsiteY4" fmla="*/ 52388 h 1477409"/>
              <a:gd name="connsiteX5" fmla="*/ 421482 w 1623138"/>
              <a:gd name="connsiteY5" fmla="*/ 0 h 1477409"/>
              <a:gd name="connsiteX6" fmla="*/ 595313 w 1623138"/>
              <a:gd name="connsiteY6" fmla="*/ 445294 h 1477409"/>
              <a:gd name="connsiteX7" fmla="*/ 923925 w 1623138"/>
              <a:gd name="connsiteY7" fmla="*/ 685799 h 1477409"/>
              <a:gd name="connsiteX8" fmla="*/ 621506 w 1623138"/>
              <a:gd name="connsiteY8" fmla="*/ 1031079 h 1477409"/>
              <a:gd name="connsiteX9" fmla="*/ 0 w 1623138"/>
              <a:gd name="connsiteY9" fmla="*/ 797716 h 1477409"/>
              <a:gd name="connsiteX0" fmla="*/ 0 w 1623138"/>
              <a:gd name="connsiteY0" fmla="*/ 797716 h 1477409"/>
              <a:gd name="connsiteX1" fmla="*/ 0 w 1623138"/>
              <a:gd name="connsiteY1" fmla="*/ 1326354 h 1477409"/>
              <a:gd name="connsiteX2" fmla="*/ 1574006 w 1623138"/>
              <a:gd name="connsiteY2" fmla="*/ 981073 h 1477409"/>
              <a:gd name="connsiteX3" fmla="*/ 1264443 w 1623138"/>
              <a:gd name="connsiteY3" fmla="*/ 219074 h 1477409"/>
              <a:gd name="connsiteX4" fmla="*/ 835820 w 1623138"/>
              <a:gd name="connsiteY4" fmla="*/ 52388 h 1477409"/>
              <a:gd name="connsiteX5" fmla="*/ 654844 w 1623138"/>
              <a:gd name="connsiteY5" fmla="*/ 26194 h 1477409"/>
              <a:gd name="connsiteX6" fmla="*/ 421482 w 1623138"/>
              <a:gd name="connsiteY6" fmla="*/ 0 h 1477409"/>
              <a:gd name="connsiteX7" fmla="*/ 595313 w 1623138"/>
              <a:gd name="connsiteY7" fmla="*/ 445294 h 1477409"/>
              <a:gd name="connsiteX8" fmla="*/ 923925 w 1623138"/>
              <a:gd name="connsiteY8" fmla="*/ 685799 h 1477409"/>
              <a:gd name="connsiteX9" fmla="*/ 621506 w 1623138"/>
              <a:gd name="connsiteY9" fmla="*/ 1031079 h 1477409"/>
              <a:gd name="connsiteX10" fmla="*/ 0 w 1623138"/>
              <a:gd name="connsiteY10" fmla="*/ 797716 h 1477409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652572"/>
              <a:gd name="connsiteX1" fmla="*/ 0 w 1623138"/>
              <a:gd name="connsiteY1" fmla="*/ 1647822 h 1652572"/>
              <a:gd name="connsiteX2" fmla="*/ 1574006 w 1623138"/>
              <a:gd name="connsiteY2" fmla="*/ 1302541 h 1652572"/>
              <a:gd name="connsiteX3" fmla="*/ 1264443 w 1623138"/>
              <a:gd name="connsiteY3" fmla="*/ 540542 h 1652572"/>
              <a:gd name="connsiteX4" fmla="*/ 835820 w 1623138"/>
              <a:gd name="connsiteY4" fmla="*/ 373856 h 1652572"/>
              <a:gd name="connsiteX5" fmla="*/ 807244 w 1623138"/>
              <a:gd name="connsiteY5" fmla="*/ 0 h 1652572"/>
              <a:gd name="connsiteX6" fmla="*/ 421482 w 1623138"/>
              <a:gd name="connsiteY6" fmla="*/ 321468 h 1652572"/>
              <a:gd name="connsiteX7" fmla="*/ 595313 w 1623138"/>
              <a:gd name="connsiteY7" fmla="*/ 766762 h 1652572"/>
              <a:gd name="connsiteX8" fmla="*/ 923925 w 1623138"/>
              <a:gd name="connsiteY8" fmla="*/ 1007267 h 1652572"/>
              <a:gd name="connsiteX9" fmla="*/ 621506 w 1623138"/>
              <a:gd name="connsiteY9" fmla="*/ 1352547 h 1652572"/>
              <a:gd name="connsiteX10" fmla="*/ 0 w 1623138"/>
              <a:gd name="connsiteY10" fmla="*/ 1119184 h 1652572"/>
              <a:gd name="connsiteX0" fmla="*/ 0 w 1627271"/>
              <a:gd name="connsiteY0" fmla="*/ 1119184 h 1712926"/>
              <a:gd name="connsiteX1" fmla="*/ 0 w 1627271"/>
              <a:gd name="connsiteY1" fmla="*/ 1647822 h 1712926"/>
              <a:gd name="connsiteX2" fmla="*/ 1574006 w 1627271"/>
              <a:gd name="connsiteY2" fmla="*/ 1302541 h 1712926"/>
              <a:gd name="connsiteX3" fmla="*/ 1264443 w 1627271"/>
              <a:gd name="connsiteY3" fmla="*/ 540542 h 1712926"/>
              <a:gd name="connsiteX4" fmla="*/ 835820 w 1627271"/>
              <a:gd name="connsiteY4" fmla="*/ 373856 h 1712926"/>
              <a:gd name="connsiteX5" fmla="*/ 807244 w 1627271"/>
              <a:gd name="connsiteY5" fmla="*/ 0 h 1712926"/>
              <a:gd name="connsiteX6" fmla="*/ 421482 w 1627271"/>
              <a:gd name="connsiteY6" fmla="*/ 321468 h 1712926"/>
              <a:gd name="connsiteX7" fmla="*/ 595313 w 1627271"/>
              <a:gd name="connsiteY7" fmla="*/ 766762 h 1712926"/>
              <a:gd name="connsiteX8" fmla="*/ 923925 w 1627271"/>
              <a:gd name="connsiteY8" fmla="*/ 1007267 h 1712926"/>
              <a:gd name="connsiteX9" fmla="*/ 621506 w 1627271"/>
              <a:gd name="connsiteY9" fmla="*/ 1352547 h 1712926"/>
              <a:gd name="connsiteX10" fmla="*/ 0 w 1627271"/>
              <a:gd name="connsiteY10" fmla="*/ 1119184 h 1712926"/>
              <a:gd name="connsiteX0" fmla="*/ 0 w 1627271"/>
              <a:gd name="connsiteY0" fmla="*/ 1119184 h 1797816"/>
              <a:gd name="connsiteX1" fmla="*/ 0 w 1627271"/>
              <a:gd name="connsiteY1" fmla="*/ 1647822 h 1797816"/>
              <a:gd name="connsiteX2" fmla="*/ 1574006 w 1627271"/>
              <a:gd name="connsiteY2" fmla="*/ 1302541 h 1797816"/>
              <a:gd name="connsiteX3" fmla="*/ 1264443 w 1627271"/>
              <a:gd name="connsiteY3" fmla="*/ 540542 h 1797816"/>
              <a:gd name="connsiteX4" fmla="*/ 835820 w 1627271"/>
              <a:gd name="connsiteY4" fmla="*/ 373856 h 1797816"/>
              <a:gd name="connsiteX5" fmla="*/ 807244 w 1627271"/>
              <a:gd name="connsiteY5" fmla="*/ 0 h 1797816"/>
              <a:gd name="connsiteX6" fmla="*/ 421482 w 1627271"/>
              <a:gd name="connsiteY6" fmla="*/ 321468 h 1797816"/>
              <a:gd name="connsiteX7" fmla="*/ 595313 w 1627271"/>
              <a:gd name="connsiteY7" fmla="*/ 766762 h 1797816"/>
              <a:gd name="connsiteX8" fmla="*/ 923925 w 1627271"/>
              <a:gd name="connsiteY8" fmla="*/ 1007267 h 1797816"/>
              <a:gd name="connsiteX9" fmla="*/ 621506 w 1627271"/>
              <a:gd name="connsiteY9" fmla="*/ 1352547 h 1797816"/>
              <a:gd name="connsiteX10" fmla="*/ 0 w 1627271"/>
              <a:gd name="connsiteY10" fmla="*/ 1119184 h 1797816"/>
              <a:gd name="connsiteX0" fmla="*/ 0 w 1622231"/>
              <a:gd name="connsiteY0" fmla="*/ 1119184 h 1773253"/>
              <a:gd name="connsiteX1" fmla="*/ 0 w 1622231"/>
              <a:gd name="connsiteY1" fmla="*/ 1647822 h 1773253"/>
              <a:gd name="connsiteX2" fmla="*/ 1574006 w 1622231"/>
              <a:gd name="connsiteY2" fmla="*/ 1302541 h 1773253"/>
              <a:gd name="connsiteX3" fmla="*/ 1264443 w 1622231"/>
              <a:gd name="connsiteY3" fmla="*/ 540542 h 1773253"/>
              <a:gd name="connsiteX4" fmla="*/ 835820 w 1622231"/>
              <a:gd name="connsiteY4" fmla="*/ 373856 h 1773253"/>
              <a:gd name="connsiteX5" fmla="*/ 807244 w 1622231"/>
              <a:gd name="connsiteY5" fmla="*/ 0 h 1773253"/>
              <a:gd name="connsiteX6" fmla="*/ 421482 w 1622231"/>
              <a:gd name="connsiteY6" fmla="*/ 321468 h 1773253"/>
              <a:gd name="connsiteX7" fmla="*/ 595313 w 1622231"/>
              <a:gd name="connsiteY7" fmla="*/ 766762 h 1773253"/>
              <a:gd name="connsiteX8" fmla="*/ 923925 w 1622231"/>
              <a:gd name="connsiteY8" fmla="*/ 1007267 h 1773253"/>
              <a:gd name="connsiteX9" fmla="*/ 621506 w 1622231"/>
              <a:gd name="connsiteY9" fmla="*/ 1352547 h 1773253"/>
              <a:gd name="connsiteX10" fmla="*/ 0 w 1622231"/>
              <a:gd name="connsiteY10" fmla="*/ 1119184 h 1773253"/>
              <a:gd name="connsiteX0" fmla="*/ 0 w 1622231"/>
              <a:gd name="connsiteY0" fmla="*/ 1119184 h 1800701"/>
              <a:gd name="connsiteX1" fmla="*/ 0 w 1622231"/>
              <a:gd name="connsiteY1" fmla="*/ 1647822 h 1800701"/>
              <a:gd name="connsiteX2" fmla="*/ 1574006 w 1622231"/>
              <a:gd name="connsiteY2" fmla="*/ 1302541 h 1800701"/>
              <a:gd name="connsiteX3" fmla="*/ 1264443 w 1622231"/>
              <a:gd name="connsiteY3" fmla="*/ 540542 h 1800701"/>
              <a:gd name="connsiteX4" fmla="*/ 835820 w 1622231"/>
              <a:gd name="connsiteY4" fmla="*/ 373856 h 1800701"/>
              <a:gd name="connsiteX5" fmla="*/ 807244 w 1622231"/>
              <a:gd name="connsiteY5" fmla="*/ 0 h 1800701"/>
              <a:gd name="connsiteX6" fmla="*/ 421482 w 1622231"/>
              <a:gd name="connsiteY6" fmla="*/ 321468 h 1800701"/>
              <a:gd name="connsiteX7" fmla="*/ 595313 w 1622231"/>
              <a:gd name="connsiteY7" fmla="*/ 766762 h 1800701"/>
              <a:gd name="connsiteX8" fmla="*/ 923925 w 1622231"/>
              <a:gd name="connsiteY8" fmla="*/ 1007267 h 1800701"/>
              <a:gd name="connsiteX9" fmla="*/ 621506 w 1622231"/>
              <a:gd name="connsiteY9" fmla="*/ 1352547 h 1800701"/>
              <a:gd name="connsiteX10" fmla="*/ 0 w 1622231"/>
              <a:gd name="connsiteY10" fmla="*/ 1119184 h 1800701"/>
              <a:gd name="connsiteX0" fmla="*/ 0 w 1552023"/>
              <a:gd name="connsiteY0" fmla="*/ 1119184 h 1859749"/>
              <a:gd name="connsiteX1" fmla="*/ 0 w 1552023"/>
              <a:gd name="connsiteY1" fmla="*/ 1647822 h 1859749"/>
              <a:gd name="connsiteX2" fmla="*/ 1462087 w 1552023"/>
              <a:gd name="connsiteY2" fmla="*/ 1469229 h 1859749"/>
              <a:gd name="connsiteX3" fmla="*/ 1264443 w 1552023"/>
              <a:gd name="connsiteY3" fmla="*/ 540542 h 1859749"/>
              <a:gd name="connsiteX4" fmla="*/ 835820 w 1552023"/>
              <a:gd name="connsiteY4" fmla="*/ 373856 h 1859749"/>
              <a:gd name="connsiteX5" fmla="*/ 807244 w 1552023"/>
              <a:gd name="connsiteY5" fmla="*/ 0 h 1859749"/>
              <a:gd name="connsiteX6" fmla="*/ 421482 w 1552023"/>
              <a:gd name="connsiteY6" fmla="*/ 321468 h 1859749"/>
              <a:gd name="connsiteX7" fmla="*/ 595313 w 1552023"/>
              <a:gd name="connsiteY7" fmla="*/ 766762 h 1859749"/>
              <a:gd name="connsiteX8" fmla="*/ 923925 w 1552023"/>
              <a:gd name="connsiteY8" fmla="*/ 1007267 h 1859749"/>
              <a:gd name="connsiteX9" fmla="*/ 621506 w 1552023"/>
              <a:gd name="connsiteY9" fmla="*/ 1352547 h 1859749"/>
              <a:gd name="connsiteX10" fmla="*/ 0 w 1552023"/>
              <a:gd name="connsiteY10" fmla="*/ 1119184 h 1859749"/>
              <a:gd name="connsiteX0" fmla="*/ 0 w 1571973"/>
              <a:gd name="connsiteY0" fmla="*/ 1119184 h 1800114"/>
              <a:gd name="connsiteX1" fmla="*/ 0 w 1571973"/>
              <a:gd name="connsiteY1" fmla="*/ 1647822 h 1800114"/>
              <a:gd name="connsiteX2" fmla="*/ 1462087 w 1571973"/>
              <a:gd name="connsiteY2" fmla="*/ 1469229 h 1800114"/>
              <a:gd name="connsiteX3" fmla="*/ 1264443 w 1571973"/>
              <a:gd name="connsiteY3" fmla="*/ 540542 h 1800114"/>
              <a:gd name="connsiteX4" fmla="*/ 835820 w 1571973"/>
              <a:gd name="connsiteY4" fmla="*/ 373856 h 1800114"/>
              <a:gd name="connsiteX5" fmla="*/ 807244 w 1571973"/>
              <a:gd name="connsiteY5" fmla="*/ 0 h 1800114"/>
              <a:gd name="connsiteX6" fmla="*/ 421482 w 1571973"/>
              <a:gd name="connsiteY6" fmla="*/ 321468 h 1800114"/>
              <a:gd name="connsiteX7" fmla="*/ 595313 w 1571973"/>
              <a:gd name="connsiteY7" fmla="*/ 766762 h 1800114"/>
              <a:gd name="connsiteX8" fmla="*/ 923925 w 1571973"/>
              <a:gd name="connsiteY8" fmla="*/ 1007267 h 1800114"/>
              <a:gd name="connsiteX9" fmla="*/ 621506 w 1571973"/>
              <a:gd name="connsiteY9" fmla="*/ 1352547 h 1800114"/>
              <a:gd name="connsiteX10" fmla="*/ 0 w 1571973"/>
              <a:gd name="connsiteY10" fmla="*/ 1119184 h 1800114"/>
              <a:gd name="connsiteX0" fmla="*/ 0 w 1620477"/>
              <a:gd name="connsiteY0" fmla="*/ 1119184 h 1800815"/>
              <a:gd name="connsiteX1" fmla="*/ 0 w 1620477"/>
              <a:gd name="connsiteY1" fmla="*/ 1647822 h 1800815"/>
              <a:gd name="connsiteX2" fmla="*/ 1462087 w 1620477"/>
              <a:gd name="connsiteY2" fmla="*/ 1469229 h 1800815"/>
              <a:gd name="connsiteX3" fmla="*/ 1264443 w 1620477"/>
              <a:gd name="connsiteY3" fmla="*/ 540542 h 1800815"/>
              <a:gd name="connsiteX4" fmla="*/ 835820 w 1620477"/>
              <a:gd name="connsiteY4" fmla="*/ 373856 h 1800815"/>
              <a:gd name="connsiteX5" fmla="*/ 807244 w 1620477"/>
              <a:gd name="connsiteY5" fmla="*/ 0 h 1800815"/>
              <a:gd name="connsiteX6" fmla="*/ 421482 w 1620477"/>
              <a:gd name="connsiteY6" fmla="*/ 321468 h 1800815"/>
              <a:gd name="connsiteX7" fmla="*/ 595313 w 1620477"/>
              <a:gd name="connsiteY7" fmla="*/ 766762 h 1800815"/>
              <a:gd name="connsiteX8" fmla="*/ 923925 w 1620477"/>
              <a:gd name="connsiteY8" fmla="*/ 1007267 h 1800815"/>
              <a:gd name="connsiteX9" fmla="*/ 621506 w 1620477"/>
              <a:gd name="connsiteY9" fmla="*/ 1352547 h 1800815"/>
              <a:gd name="connsiteX10" fmla="*/ 0 w 1620477"/>
              <a:gd name="connsiteY10" fmla="*/ 1119184 h 1800815"/>
              <a:gd name="connsiteX0" fmla="*/ 0 w 1629436"/>
              <a:gd name="connsiteY0" fmla="*/ 1119184 h 1799377"/>
              <a:gd name="connsiteX1" fmla="*/ 0 w 1629436"/>
              <a:gd name="connsiteY1" fmla="*/ 1647822 h 1799377"/>
              <a:gd name="connsiteX2" fmla="*/ 1476374 w 1629436"/>
              <a:gd name="connsiteY2" fmla="*/ 1464467 h 1799377"/>
              <a:gd name="connsiteX3" fmla="*/ 1264443 w 1629436"/>
              <a:gd name="connsiteY3" fmla="*/ 540542 h 1799377"/>
              <a:gd name="connsiteX4" fmla="*/ 835820 w 1629436"/>
              <a:gd name="connsiteY4" fmla="*/ 373856 h 1799377"/>
              <a:gd name="connsiteX5" fmla="*/ 807244 w 1629436"/>
              <a:gd name="connsiteY5" fmla="*/ 0 h 1799377"/>
              <a:gd name="connsiteX6" fmla="*/ 421482 w 1629436"/>
              <a:gd name="connsiteY6" fmla="*/ 321468 h 1799377"/>
              <a:gd name="connsiteX7" fmla="*/ 595313 w 1629436"/>
              <a:gd name="connsiteY7" fmla="*/ 766762 h 1799377"/>
              <a:gd name="connsiteX8" fmla="*/ 923925 w 1629436"/>
              <a:gd name="connsiteY8" fmla="*/ 1007267 h 1799377"/>
              <a:gd name="connsiteX9" fmla="*/ 621506 w 1629436"/>
              <a:gd name="connsiteY9" fmla="*/ 1352547 h 1799377"/>
              <a:gd name="connsiteX10" fmla="*/ 0 w 1629436"/>
              <a:gd name="connsiteY10" fmla="*/ 1119184 h 1799377"/>
              <a:gd name="connsiteX0" fmla="*/ 0 w 1606110"/>
              <a:gd name="connsiteY0" fmla="*/ 1119184 h 1796213"/>
              <a:gd name="connsiteX1" fmla="*/ 0 w 1606110"/>
              <a:gd name="connsiteY1" fmla="*/ 1647822 h 1796213"/>
              <a:gd name="connsiteX2" fmla="*/ 1476374 w 1606110"/>
              <a:gd name="connsiteY2" fmla="*/ 1464467 h 1796213"/>
              <a:gd name="connsiteX3" fmla="*/ 1264443 w 1606110"/>
              <a:gd name="connsiteY3" fmla="*/ 540542 h 1796213"/>
              <a:gd name="connsiteX4" fmla="*/ 835820 w 1606110"/>
              <a:gd name="connsiteY4" fmla="*/ 373856 h 1796213"/>
              <a:gd name="connsiteX5" fmla="*/ 807244 w 1606110"/>
              <a:gd name="connsiteY5" fmla="*/ 0 h 1796213"/>
              <a:gd name="connsiteX6" fmla="*/ 421482 w 1606110"/>
              <a:gd name="connsiteY6" fmla="*/ 321468 h 1796213"/>
              <a:gd name="connsiteX7" fmla="*/ 595313 w 1606110"/>
              <a:gd name="connsiteY7" fmla="*/ 766762 h 1796213"/>
              <a:gd name="connsiteX8" fmla="*/ 923925 w 1606110"/>
              <a:gd name="connsiteY8" fmla="*/ 1007267 h 1796213"/>
              <a:gd name="connsiteX9" fmla="*/ 621506 w 1606110"/>
              <a:gd name="connsiteY9" fmla="*/ 1352547 h 1796213"/>
              <a:gd name="connsiteX10" fmla="*/ 0 w 1606110"/>
              <a:gd name="connsiteY10" fmla="*/ 1119184 h 1796213"/>
              <a:gd name="connsiteX0" fmla="*/ 0 w 1625337"/>
              <a:gd name="connsiteY0" fmla="*/ 1119184 h 1796213"/>
              <a:gd name="connsiteX1" fmla="*/ 0 w 1625337"/>
              <a:gd name="connsiteY1" fmla="*/ 1647822 h 1796213"/>
              <a:gd name="connsiteX2" fmla="*/ 1476374 w 1625337"/>
              <a:gd name="connsiteY2" fmla="*/ 1464467 h 1796213"/>
              <a:gd name="connsiteX3" fmla="*/ 1264443 w 1625337"/>
              <a:gd name="connsiteY3" fmla="*/ 540542 h 1796213"/>
              <a:gd name="connsiteX4" fmla="*/ 835820 w 1625337"/>
              <a:gd name="connsiteY4" fmla="*/ 373856 h 1796213"/>
              <a:gd name="connsiteX5" fmla="*/ 807244 w 1625337"/>
              <a:gd name="connsiteY5" fmla="*/ 0 h 1796213"/>
              <a:gd name="connsiteX6" fmla="*/ 421482 w 1625337"/>
              <a:gd name="connsiteY6" fmla="*/ 321468 h 1796213"/>
              <a:gd name="connsiteX7" fmla="*/ 595313 w 1625337"/>
              <a:gd name="connsiteY7" fmla="*/ 766762 h 1796213"/>
              <a:gd name="connsiteX8" fmla="*/ 923925 w 1625337"/>
              <a:gd name="connsiteY8" fmla="*/ 1007267 h 1796213"/>
              <a:gd name="connsiteX9" fmla="*/ 621506 w 1625337"/>
              <a:gd name="connsiteY9" fmla="*/ 1352547 h 1796213"/>
              <a:gd name="connsiteX10" fmla="*/ 0 w 1625337"/>
              <a:gd name="connsiteY10" fmla="*/ 1119184 h 1796213"/>
              <a:gd name="connsiteX0" fmla="*/ 0 w 1625337"/>
              <a:gd name="connsiteY0" fmla="*/ 1119184 h 1803595"/>
              <a:gd name="connsiteX1" fmla="*/ 0 w 1625337"/>
              <a:gd name="connsiteY1" fmla="*/ 1647822 h 1803595"/>
              <a:gd name="connsiteX2" fmla="*/ 1476374 w 1625337"/>
              <a:gd name="connsiteY2" fmla="*/ 1464467 h 1803595"/>
              <a:gd name="connsiteX3" fmla="*/ 1264443 w 1625337"/>
              <a:gd name="connsiteY3" fmla="*/ 540542 h 1803595"/>
              <a:gd name="connsiteX4" fmla="*/ 835820 w 1625337"/>
              <a:gd name="connsiteY4" fmla="*/ 373856 h 1803595"/>
              <a:gd name="connsiteX5" fmla="*/ 807244 w 1625337"/>
              <a:gd name="connsiteY5" fmla="*/ 0 h 1803595"/>
              <a:gd name="connsiteX6" fmla="*/ 421482 w 1625337"/>
              <a:gd name="connsiteY6" fmla="*/ 321468 h 1803595"/>
              <a:gd name="connsiteX7" fmla="*/ 595313 w 1625337"/>
              <a:gd name="connsiteY7" fmla="*/ 766762 h 1803595"/>
              <a:gd name="connsiteX8" fmla="*/ 923925 w 1625337"/>
              <a:gd name="connsiteY8" fmla="*/ 1007267 h 1803595"/>
              <a:gd name="connsiteX9" fmla="*/ 621506 w 1625337"/>
              <a:gd name="connsiteY9" fmla="*/ 1352547 h 1803595"/>
              <a:gd name="connsiteX10" fmla="*/ 0 w 1625337"/>
              <a:gd name="connsiteY10" fmla="*/ 1119184 h 1803595"/>
              <a:gd name="connsiteX0" fmla="*/ 0 w 1625337"/>
              <a:gd name="connsiteY0" fmla="*/ 1119184 h 1799376"/>
              <a:gd name="connsiteX1" fmla="*/ 0 w 1625337"/>
              <a:gd name="connsiteY1" fmla="*/ 1647822 h 1799376"/>
              <a:gd name="connsiteX2" fmla="*/ 1476374 w 1625337"/>
              <a:gd name="connsiteY2" fmla="*/ 1464467 h 1799376"/>
              <a:gd name="connsiteX3" fmla="*/ 1264443 w 1625337"/>
              <a:gd name="connsiteY3" fmla="*/ 540542 h 1799376"/>
              <a:gd name="connsiteX4" fmla="*/ 835820 w 1625337"/>
              <a:gd name="connsiteY4" fmla="*/ 373856 h 1799376"/>
              <a:gd name="connsiteX5" fmla="*/ 807244 w 1625337"/>
              <a:gd name="connsiteY5" fmla="*/ 0 h 1799376"/>
              <a:gd name="connsiteX6" fmla="*/ 421482 w 1625337"/>
              <a:gd name="connsiteY6" fmla="*/ 321468 h 1799376"/>
              <a:gd name="connsiteX7" fmla="*/ 595313 w 1625337"/>
              <a:gd name="connsiteY7" fmla="*/ 766762 h 1799376"/>
              <a:gd name="connsiteX8" fmla="*/ 923925 w 1625337"/>
              <a:gd name="connsiteY8" fmla="*/ 1007267 h 1799376"/>
              <a:gd name="connsiteX9" fmla="*/ 621506 w 1625337"/>
              <a:gd name="connsiteY9" fmla="*/ 1352547 h 1799376"/>
              <a:gd name="connsiteX10" fmla="*/ 0 w 1625337"/>
              <a:gd name="connsiteY10" fmla="*/ 1119184 h 1799376"/>
              <a:gd name="connsiteX0" fmla="*/ 0 w 1635914"/>
              <a:gd name="connsiteY0" fmla="*/ 1119184 h 1799376"/>
              <a:gd name="connsiteX1" fmla="*/ 0 w 1635914"/>
              <a:gd name="connsiteY1" fmla="*/ 1647822 h 1799376"/>
              <a:gd name="connsiteX2" fmla="*/ 1476374 w 1635914"/>
              <a:gd name="connsiteY2" fmla="*/ 1464467 h 1799376"/>
              <a:gd name="connsiteX3" fmla="*/ 1264443 w 1635914"/>
              <a:gd name="connsiteY3" fmla="*/ 540542 h 1799376"/>
              <a:gd name="connsiteX4" fmla="*/ 835820 w 1635914"/>
              <a:gd name="connsiteY4" fmla="*/ 373856 h 1799376"/>
              <a:gd name="connsiteX5" fmla="*/ 807244 w 1635914"/>
              <a:gd name="connsiteY5" fmla="*/ 0 h 1799376"/>
              <a:gd name="connsiteX6" fmla="*/ 421482 w 1635914"/>
              <a:gd name="connsiteY6" fmla="*/ 321468 h 1799376"/>
              <a:gd name="connsiteX7" fmla="*/ 595313 w 1635914"/>
              <a:gd name="connsiteY7" fmla="*/ 766762 h 1799376"/>
              <a:gd name="connsiteX8" fmla="*/ 923925 w 1635914"/>
              <a:gd name="connsiteY8" fmla="*/ 1007267 h 1799376"/>
              <a:gd name="connsiteX9" fmla="*/ 621506 w 1635914"/>
              <a:gd name="connsiteY9" fmla="*/ 1352547 h 1799376"/>
              <a:gd name="connsiteX10" fmla="*/ 0 w 1635914"/>
              <a:gd name="connsiteY10" fmla="*/ 1119184 h 1799376"/>
              <a:gd name="connsiteX0" fmla="*/ 0 w 1720482"/>
              <a:gd name="connsiteY0" fmla="*/ 1119184 h 1772537"/>
              <a:gd name="connsiteX1" fmla="*/ 0 w 1720482"/>
              <a:gd name="connsiteY1" fmla="*/ 1647822 h 1772537"/>
              <a:gd name="connsiteX2" fmla="*/ 1476374 w 1720482"/>
              <a:gd name="connsiteY2" fmla="*/ 1464467 h 1772537"/>
              <a:gd name="connsiteX3" fmla="*/ 1397793 w 1720482"/>
              <a:gd name="connsiteY3" fmla="*/ 626267 h 1772537"/>
              <a:gd name="connsiteX4" fmla="*/ 835820 w 1720482"/>
              <a:gd name="connsiteY4" fmla="*/ 373856 h 1772537"/>
              <a:gd name="connsiteX5" fmla="*/ 807244 w 1720482"/>
              <a:gd name="connsiteY5" fmla="*/ 0 h 1772537"/>
              <a:gd name="connsiteX6" fmla="*/ 421482 w 1720482"/>
              <a:gd name="connsiteY6" fmla="*/ 321468 h 1772537"/>
              <a:gd name="connsiteX7" fmla="*/ 595313 w 1720482"/>
              <a:gd name="connsiteY7" fmla="*/ 766762 h 1772537"/>
              <a:gd name="connsiteX8" fmla="*/ 923925 w 1720482"/>
              <a:gd name="connsiteY8" fmla="*/ 1007267 h 1772537"/>
              <a:gd name="connsiteX9" fmla="*/ 621506 w 1720482"/>
              <a:gd name="connsiteY9" fmla="*/ 1352547 h 1772537"/>
              <a:gd name="connsiteX10" fmla="*/ 0 w 1720482"/>
              <a:gd name="connsiteY10" fmla="*/ 1119184 h 1772537"/>
              <a:gd name="connsiteX0" fmla="*/ 0 w 1630664"/>
              <a:gd name="connsiteY0" fmla="*/ 1119184 h 1772537"/>
              <a:gd name="connsiteX1" fmla="*/ 0 w 1630664"/>
              <a:gd name="connsiteY1" fmla="*/ 1647822 h 1772537"/>
              <a:gd name="connsiteX2" fmla="*/ 1476374 w 1630664"/>
              <a:gd name="connsiteY2" fmla="*/ 1464467 h 1772537"/>
              <a:gd name="connsiteX3" fmla="*/ 1397793 w 1630664"/>
              <a:gd name="connsiteY3" fmla="*/ 626267 h 1772537"/>
              <a:gd name="connsiteX4" fmla="*/ 835820 w 1630664"/>
              <a:gd name="connsiteY4" fmla="*/ 373856 h 1772537"/>
              <a:gd name="connsiteX5" fmla="*/ 807244 w 1630664"/>
              <a:gd name="connsiteY5" fmla="*/ 0 h 1772537"/>
              <a:gd name="connsiteX6" fmla="*/ 421482 w 1630664"/>
              <a:gd name="connsiteY6" fmla="*/ 321468 h 1772537"/>
              <a:gd name="connsiteX7" fmla="*/ 595313 w 1630664"/>
              <a:gd name="connsiteY7" fmla="*/ 766762 h 1772537"/>
              <a:gd name="connsiteX8" fmla="*/ 923925 w 1630664"/>
              <a:gd name="connsiteY8" fmla="*/ 1007267 h 1772537"/>
              <a:gd name="connsiteX9" fmla="*/ 621506 w 1630664"/>
              <a:gd name="connsiteY9" fmla="*/ 1352547 h 1772537"/>
              <a:gd name="connsiteX10" fmla="*/ 0 w 1630664"/>
              <a:gd name="connsiteY10" fmla="*/ 1119184 h 1772537"/>
              <a:gd name="connsiteX0" fmla="*/ 0 w 1615856"/>
              <a:gd name="connsiteY0" fmla="*/ 1119184 h 1800557"/>
              <a:gd name="connsiteX1" fmla="*/ 0 w 1615856"/>
              <a:gd name="connsiteY1" fmla="*/ 1647822 h 1800557"/>
              <a:gd name="connsiteX2" fmla="*/ 1476374 w 1615856"/>
              <a:gd name="connsiteY2" fmla="*/ 1464467 h 1800557"/>
              <a:gd name="connsiteX3" fmla="*/ 1397793 w 1615856"/>
              <a:gd name="connsiteY3" fmla="*/ 626267 h 1800557"/>
              <a:gd name="connsiteX4" fmla="*/ 835820 w 1615856"/>
              <a:gd name="connsiteY4" fmla="*/ 373856 h 1800557"/>
              <a:gd name="connsiteX5" fmla="*/ 807244 w 1615856"/>
              <a:gd name="connsiteY5" fmla="*/ 0 h 1800557"/>
              <a:gd name="connsiteX6" fmla="*/ 421482 w 1615856"/>
              <a:gd name="connsiteY6" fmla="*/ 321468 h 1800557"/>
              <a:gd name="connsiteX7" fmla="*/ 595313 w 1615856"/>
              <a:gd name="connsiteY7" fmla="*/ 766762 h 1800557"/>
              <a:gd name="connsiteX8" fmla="*/ 923925 w 1615856"/>
              <a:gd name="connsiteY8" fmla="*/ 1007267 h 1800557"/>
              <a:gd name="connsiteX9" fmla="*/ 621506 w 1615856"/>
              <a:gd name="connsiteY9" fmla="*/ 1352547 h 1800557"/>
              <a:gd name="connsiteX10" fmla="*/ 0 w 1615856"/>
              <a:gd name="connsiteY10" fmla="*/ 1119184 h 1800557"/>
              <a:gd name="connsiteX0" fmla="*/ 0 w 1626496"/>
              <a:gd name="connsiteY0" fmla="*/ 1119184 h 1800277"/>
              <a:gd name="connsiteX1" fmla="*/ 0 w 1626496"/>
              <a:gd name="connsiteY1" fmla="*/ 1647822 h 1800277"/>
              <a:gd name="connsiteX2" fmla="*/ 1476374 w 1626496"/>
              <a:gd name="connsiteY2" fmla="*/ 1464467 h 1800277"/>
              <a:gd name="connsiteX3" fmla="*/ 1397793 w 1626496"/>
              <a:gd name="connsiteY3" fmla="*/ 626267 h 1800277"/>
              <a:gd name="connsiteX4" fmla="*/ 835820 w 1626496"/>
              <a:gd name="connsiteY4" fmla="*/ 373856 h 1800277"/>
              <a:gd name="connsiteX5" fmla="*/ 807244 w 1626496"/>
              <a:gd name="connsiteY5" fmla="*/ 0 h 1800277"/>
              <a:gd name="connsiteX6" fmla="*/ 421482 w 1626496"/>
              <a:gd name="connsiteY6" fmla="*/ 321468 h 1800277"/>
              <a:gd name="connsiteX7" fmla="*/ 595313 w 1626496"/>
              <a:gd name="connsiteY7" fmla="*/ 766762 h 1800277"/>
              <a:gd name="connsiteX8" fmla="*/ 923925 w 1626496"/>
              <a:gd name="connsiteY8" fmla="*/ 1007267 h 1800277"/>
              <a:gd name="connsiteX9" fmla="*/ 621506 w 1626496"/>
              <a:gd name="connsiteY9" fmla="*/ 1352547 h 1800277"/>
              <a:gd name="connsiteX10" fmla="*/ 0 w 1626496"/>
              <a:gd name="connsiteY10" fmla="*/ 1119184 h 1800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626496" h="1800277">
                <a:moveTo>
                  <a:pt x="0" y="1119184"/>
                </a:moveTo>
                <a:lnTo>
                  <a:pt x="0" y="1647822"/>
                </a:lnTo>
                <a:cubicBezTo>
                  <a:pt x="686196" y="1947462"/>
                  <a:pt x="1196953" y="1762179"/>
                  <a:pt x="1476374" y="1464467"/>
                </a:cubicBezTo>
                <a:cubicBezTo>
                  <a:pt x="1699180" y="1227076"/>
                  <a:pt x="1674781" y="817990"/>
                  <a:pt x="1397793" y="626267"/>
                </a:cubicBezTo>
                <a:cubicBezTo>
                  <a:pt x="1228944" y="509394"/>
                  <a:pt x="1023144" y="457993"/>
                  <a:pt x="835820" y="373856"/>
                </a:cubicBezTo>
                <a:cubicBezTo>
                  <a:pt x="676275" y="325437"/>
                  <a:pt x="542926" y="112711"/>
                  <a:pt x="807244" y="0"/>
                </a:cubicBezTo>
                <a:cubicBezTo>
                  <a:pt x="507207" y="50006"/>
                  <a:pt x="440530" y="235745"/>
                  <a:pt x="421482" y="321468"/>
                </a:cubicBezTo>
                <a:cubicBezTo>
                  <a:pt x="362745" y="574674"/>
                  <a:pt x="546894" y="723107"/>
                  <a:pt x="595313" y="766762"/>
                </a:cubicBezTo>
                <a:cubicBezTo>
                  <a:pt x="664369" y="835024"/>
                  <a:pt x="857250" y="884236"/>
                  <a:pt x="923925" y="1007267"/>
                </a:cubicBezTo>
                <a:cubicBezTo>
                  <a:pt x="992188" y="1158079"/>
                  <a:pt x="883541" y="1334500"/>
                  <a:pt x="621506" y="1352547"/>
                </a:cubicBezTo>
                <a:cubicBezTo>
                  <a:pt x="455755" y="1363963"/>
                  <a:pt x="205977" y="1265235"/>
                  <a:pt x="0" y="1119184"/>
                </a:cubicBezTo>
                <a:close/>
              </a:path>
            </a:pathLst>
          </a:custGeom>
          <a:solidFill>
            <a:srgbClr val="0F238C"/>
          </a:solidFill>
          <a:ln w="127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noProof="0">
              <a:solidFill>
                <a:schemeClr val="accent1"/>
              </a:solidFill>
            </a:endParaRPr>
          </a:p>
        </p:txBody>
      </p:sp>
      <p:sp>
        <p:nvSpPr>
          <p:cNvPr id="32" name="Freeform 31"/>
          <p:cNvSpPr/>
          <p:nvPr userDrawn="1"/>
        </p:nvSpPr>
        <p:spPr>
          <a:xfrm>
            <a:off x="7284854" y="1348704"/>
            <a:ext cx="290370" cy="168163"/>
          </a:xfrm>
          <a:custGeom>
            <a:avLst/>
            <a:gdLst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13690"/>
              <a:gd name="connsiteY0" fmla="*/ 635794 h 788194"/>
              <a:gd name="connsiteX1" fmla="*/ 1402556 w 1413690"/>
              <a:gd name="connsiteY1" fmla="*/ 64294 h 788194"/>
              <a:gd name="connsiteX2" fmla="*/ 547687 w 1413690"/>
              <a:gd name="connsiteY2" fmla="*/ 0 h 788194"/>
              <a:gd name="connsiteX3" fmla="*/ 14287 w 1413690"/>
              <a:gd name="connsiteY3" fmla="*/ 469106 h 788194"/>
              <a:gd name="connsiteX4" fmla="*/ 0 w 1413690"/>
              <a:gd name="connsiteY4" fmla="*/ 788194 h 788194"/>
              <a:gd name="connsiteX5" fmla="*/ 283368 w 1413690"/>
              <a:gd name="connsiteY5" fmla="*/ 438150 h 788194"/>
              <a:gd name="connsiteX6" fmla="*/ 821531 w 1413690"/>
              <a:gd name="connsiteY6" fmla="*/ 371475 h 788194"/>
              <a:gd name="connsiteX7" fmla="*/ 1404937 w 1413690"/>
              <a:gd name="connsiteY7" fmla="*/ 635794 h 788194"/>
              <a:gd name="connsiteX0" fmla="*/ 1404937 w 1417413"/>
              <a:gd name="connsiteY0" fmla="*/ 635794 h 788194"/>
              <a:gd name="connsiteX1" fmla="*/ 1402556 w 1417413"/>
              <a:gd name="connsiteY1" fmla="*/ 64294 h 788194"/>
              <a:gd name="connsiteX2" fmla="*/ 547687 w 1417413"/>
              <a:gd name="connsiteY2" fmla="*/ 0 h 788194"/>
              <a:gd name="connsiteX3" fmla="*/ 14287 w 1417413"/>
              <a:gd name="connsiteY3" fmla="*/ 469106 h 788194"/>
              <a:gd name="connsiteX4" fmla="*/ 0 w 1417413"/>
              <a:gd name="connsiteY4" fmla="*/ 788194 h 788194"/>
              <a:gd name="connsiteX5" fmla="*/ 283368 w 1417413"/>
              <a:gd name="connsiteY5" fmla="*/ 438150 h 788194"/>
              <a:gd name="connsiteX6" fmla="*/ 821531 w 1417413"/>
              <a:gd name="connsiteY6" fmla="*/ 371475 h 788194"/>
              <a:gd name="connsiteX7" fmla="*/ 1404937 w 1417413"/>
              <a:gd name="connsiteY7" fmla="*/ 635794 h 788194"/>
              <a:gd name="connsiteX0" fmla="*/ 1404937 w 1417413"/>
              <a:gd name="connsiteY0" fmla="*/ 636458 h 788858"/>
              <a:gd name="connsiteX1" fmla="*/ 1402556 w 1417413"/>
              <a:gd name="connsiteY1" fmla="*/ 64958 h 788858"/>
              <a:gd name="connsiteX2" fmla="*/ 547687 w 1417413"/>
              <a:gd name="connsiteY2" fmla="*/ 664 h 788858"/>
              <a:gd name="connsiteX3" fmla="*/ 14287 w 1417413"/>
              <a:gd name="connsiteY3" fmla="*/ 469770 h 788858"/>
              <a:gd name="connsiteX4" fmla="*/ 0 w 1417413"/>
              <a:gd name="connsiteY4" fmla="*/ 788858 h 788858"/>
              <a:gd name="connsiteX5" fmla="*/ 283368 w 1417413"/>
              <a:gd name="connsiteY5" fmla="*/ 438814 h 788858"/>
              <a:gd name="connsiteX6" fmla="*/ 821531 w 1417413"/>
              <a:gd name="connsiteY6" fmla="*/ 372139 h 788858"/>
              <a:gd name="connsiteX7" fmla="*/ 1404937 w 1417413"/>
              <a:gd name="connsiteY7" fmla="*/ 636458 h 788858"/>
              <a:gd name="connsiteX0" fmla="*/ 1404937 w 1417413"/>
              <a:gd name="connsiteY0" fmla="*/ 659983 h 812383"/>
              <a:gd name="connsiteX1" fmla="*/ 1402556 w 1417413"/>
              <a:gd name="connsiteY1" fmla="*/ 88483 h 812383"/>
              <a:gd name="connsiteX2" fmla="*/ 547687 w 1417413"/>
              <a:gd name="connsiteY2" fmla="*/ 24189 h 812383"/>
              <a:gd name="connsiteX3" fmla="*/ 14287 w 1417413"/>
              <a:gd name="connsiteY3" fmla="*/ 493295 h 812383"/>
              <a:gd name="connsiteX4" fmla="*/ 0 w 1417413"/>
              <a:gd name="connsiteY4" fmla="*/ 812383 h 812383"/>
              <a:gd name="connsiteX5" fmla="*/ 283368 w 1417413"/>
              <a:gd name="connsiteY5" fmla="*/ 462339 h 812383"/>
              <a:gd name="connsiteX6" fmla="*/ 821531 w 1417413"/>
              <a:gd name="connsiteY6" fmla="*/ 395664 h 812383"/>
              <a:gd name="connsiteX7" fmla="*/ 1404937 w 1417413"/>
              <a:gd name="connsiteY7" fmla="*/ 659983 h 812383"/>
              <a:gd name="connsiteX0" fmla="*/ 1404937 w 1417413"/>
              <a:gd name="connsiteY0" fmla="*/ 674932 h 827332"/>
              <a:gd name="connsiteX1" fmla="*/ 1402556 w 1417413"/>
              <a:gd name="connsiteY1" fmla="*/ 103432 h 827332"/>
              <a:gd name="connsiteX2" fmla="*/ 547687 w 1417413"/>
              <a:gd name="connsiteY2" fmla="*/ 39138 h 827332"/>
              <a:gd name="connsiteX3" fmla="*/ 14287 w 1417413"/>
              <a:gd name="connsiteY3" fmla="*/ 508244 h 827332"/>
              <a:gd name="connsiteX4" fmla="*/ 0 w 1417413"/>
              <a:gd name="connsiteY4" fmla="*/ 827332 h 827332"/>
              <a:gd name="connsiteX5" fmla="*/ 283368 w 1417413"/>
              <a:gd name="connsiteY5" fmla="*/ 477288 h 827332"/>
              <a:gd name="connsiteX6" fmla="*/ 821531 w 1417413"/>
              <a:gd name="connsiteY6" fmla="*/ 410613 h 827332"/>
              <a:gd name="connsiteX7" fmla="*/ 1404937 w 1417413"/>
              <a:gd name="connsiteY7" fmla="*/ 674932 h 827332"/>
              <a:gd name="connsiteX0" fmla="*/ 1404937 w 1417413"/>
              <a:gd name="connsiteY0" fmla="*/ 674932 h 827332"/>
              <a:gd name="connsiteX1" fmla="*/ 1402556 w 1417413"/>
              <a:gd name="connsiteY1" fmla="*/ 103432 h 827332"/>
              <a:gd name="connsiteX2" fmla="*/ 547687 w 1417413"/>
              <a:gd name="connsiteY2" fmla="*/ 39138 h 827332"/>
              <a:gd name="connsiteX3" fmla="*/ 14287 w 1417413"/>
              <a:gd name="connsiteY3" fmla="*/ 508244 h 827332"/>
              <a:gd name="connsiteX4" fmla="*/ 0 w 1417413"/>
              <a:gd name="connsiteY4" fmla="*/ 827332 h 827332"/>
              <a:gd name="connsiteX5" fmla="*/ 283368 w 1417413"/>
              <a:gd name="connsiteY5" fmla="*/ 477288 h 827332"/>
              <a:gd name="connsiteX6" fmla="*/ 821531 w 1417413"/>
              <a:gd name="connsiteY6" fmla="*/ 410613 h 827332"/>
              <a:gd name="connsiteX7" fmla="*/ 1404937 w 1417413"/>
              <a:gd name="connsiteY7" fmla="*/ 674932 h 827332"/>
              <a:gd name="connsiteX0" fmla="*/ 1406804 w 1419280"/>
              <a:gd name="connsiteY0" fmla="*/ 674932 h 827332"/>
              <a:gd name="connsiteX1" fmla="*/ 1404423 w 1419280"/>
              <a:gd name="connsiteY1" fmla="*/ 103432 h 827332"/>
              <a:gd name="connsiteX2" fmla="*/ 549554 w 1419280"/>
              <a:gd name="connsiteY2" fmla="*/ 39138 h 827332"/>
              <a:gd name="connsiteX3" fmla="*/ 16154 w 1419280"/>
              <a:gd name="connsiteY3" fmla="*/ 508244 h 827332"/>
              <a:gd name="connsiteX4" fmla="*/ 1867 w 1419280"/>
              <a:gd name="connsiteY4" fmla="*/ 827332 h 827332"/>
              <a:gd name="connsiteX5" fmla="*/ 285235 w 1419280"/>
              <a:gd name="connsiteY5" fmla="*/ 477288 h 827332"/>
              <a:gd name="connsiteX6" fmla="*/ 823398 w 1419280"/>
              <a:gd name="connsiteY6" fmla="*/ 410613 h 827332"/>
              <a:gd name="connsiteX7" fmla="*/ 1406804 w 1419280"/>
              <a:gd name="connsiteY7" fmla="*/ 674932 h 827332"/>
              <a:gd name="connsiteX0" fmla="*/ 1409119 w 1421595"/>
              <a:gd name="connsiteY0" fmla="*/ 674932 h 827332"/>
              <a:gd name="connsiteX1" fmla="*/ 1406738 w 1421595"/>
              <a:gd name="connsiteY1" fmla="*/ 103432 h 827332"/>
              <a:gd name="connsiteX2" fmla="*/ 551869 w 1421595"/>
              <a:gd name="connsiteY2" fmla="*/ 39138 h 827332"/>
              <a:gd name="connsiteX3" fmla="*/ 18469 w 1421595"/>
              <a:gd name="connsiteY3" fmla="*/ 508244 h 827332"/>
              <a:gd name="connsiteX4" fmla="*/ 4182 w 1421595"/>
              <a:gd name="connsiteY4" fmla="*/ 827332 h 827332"/>
              <a:gd name="connsiteX5" fmla="*/ 287550 w 1421595"/>
              <a:gd name="connsiteY5" fmla="*/ 477288 h 827332"/>
              <a:gd name="connsiteX6" fmla="*/ 825713 w 1421595"/>
              <a:gd name="connsiteY6" fmla="*/ 410613 h 827332"/>
              <a:gd name="connsiteX7" fmla="*/ 1409119 w 1421595"/>
              <a:gd name="connsiteY7" fmla="*/ 674932 h 827332"/>
              <a:gd name="connsiteX0" fmla="*/ 1417088 w 1429564"/>
              <a:gd name="connsiteY0" fmla="*/ 674932 h 827332"/>
              <a:gd name="connsiteX1" fmla="*/ 1414707 w 1429564"/>
              <a:gd name="connsiteY1" fmla="*/ 103432 h 827332"/>
              <a:gd name="connsiteX2" fmla="*/ 559838 w 1429564"/>
              <a:gd name="connsiteY2" fmla="*/ 39138 h 827332"/>
              <a:gd name="connsiteX3" fmla="*/ 26438 w 1429564"/>
              <a:gd name="connsiteY3" fmla="*/ 508244 h 827332"/>
              <a:gd name="connsiteX4" fmla="*/ 12151 w 1429564"/>
              <a:gd name="connsiteY4" fmla="*/ 827332 h 827332"/>
              <a:gd name="connsiteX5" fmla="*/ 295519 w 1429564"/>
              <a:gd name="connsiteY5" fmla="*/ 477288 h 827332"/>
              <a:gd name="connsiteX6" fmla="*/ 833682 w 1429564"/>
              <a:gd name="connsiteY6" fmla="*/ 410613 h 827332"/>
              <a:gd name="connsiteX7" fmla="*/ 1417088 w 1429564"/>
              <a:gd name="connsiteY7" fmla="*/ 674932 h 827332"/>
              <a:gd name="connsiteX0" fmla="*/ 1417088 w 1429564"/>
              <a:gd name="connsiteY0" fmla="*/ 674932 h 827332"/>
              <a:gd name="connsiteX1" fmla="*/ 1414707 w 1429564"/>
              <a:gd name="connsiteY1" fmla="*/ 103432 h 827332"/>
              <a:gd name="connsiteX2" fmla="*/ 559838 w 1429564"/>
              <a:gd name="connsiteY2" fmla="*/ 39138 h 827332"/>
              <a:gd name="connsiteX3" fmla="*/ 26438 w 1429564"/>
              <a:gd name="connsiteY3" fmla="*/ 508244 h 827332"/>
              <a:gd name="connsiteX4" fmla="*/ 12151 w 1429564"/>
              <a:gd name="connsiteY4" fmla="*/ 827332 h 827332"/>
              <a:gd name="connsiteX5" fmla="*/ 295519 w 1429564"/>
              <a:gd name="connsiteY5" fmla="*/ 477288 h 827332"/>
              <a:gd name="connsiteX6" fmla="*/ 833682 w 1429564"/>
              <a:gd name="connsiteY6" fmla="*/ 410613 h 827332"/>
              <a:gd name="connsiteX7" fmla="*/ 1417088 w 1429564"/>
              <a:gd name="connsiteY7" fmla="*/ 674932 h 827332"/>
              <a:gd name="connsiteX0" fmla="*/ 1417088 w 1428573"/>
              <a:gd name="connsiteY0" fmla="*/ 674932 h 827332"/>
              <a:gd name="connsiteX1" fmla="*/ 1414707 w 1428573"/>
              <a:gd name="connsiteY1" fmla="*/ 103432 h 827332"/>
              <a:gd name="connsiteX2" fmla="*/ 559838 w 1428573"/>
              <a:gd name="connsiteY2" fmla="*/ 39138 h 827332"/>
              <a:gd name="connsiteX3" fmla="*/ 26438 w 1428573"/>
              <a:gd name="connsiteY3" fmla="*/ 508244 h 827332"/>
              <a:gd name="connsiteX4" fmla="*/ 12151 w 1428573"/>
              <a:gd name="connsiteY4" fmla="*/ 827332 h 827332"/>
              <a:gd name="connsiteX5" fmla="*/ 295519 w 1428573"/>
              <a:gd name="connsiteY5" fmla="*/ 477288 h 827332"/>
              <a:gd name="connsiteX6" fmla="*/ 833682 w 1428573"/>
              <a:gd name="connsiteY6" fmla="*/ 410613 h 827332"/>
              <a:gd name="connsiteX7" fmla="*/ 1417088 w 1428573"/>
              <a:gd name="connsiteY7" fmla="*/ 674932 h 827332"/>
              <a:gd name="connsiteX0" fmla="*/ 1417088 w 1428573"/>
              <a:gd name="connsiteY0" fmla="*/ 674932 h 827332"/>
              <a:gd name="connsiteX1" fmla="*/ 1414707 w 1428573"/>
              <a:gd name="connsiteY1" fmla="*/ 103432 h 827332"/>
              <a:gd name="connsiteX2" fmla="*/ 559838 w 1428573"/>
              <a:gd name="connsiteY2" fmla="*/ 39138 h 827332"/>
              <a:gd name="connsiteX3" fmla="*/ 26438 w 1428573"/>
              <a:gd name="connsiteY3" fmla="*/ 508244 h 827332"/>
              <a:gd name="connsiteX4" fmla="*/ 12151 w 1428573"/>
              <a:gd name="connsiteY4" fmla="*/ 827332 h 827332"/>
              <a:gd name="connsiteX5" fmla="*/ 295519 w 1428573"/>
              <a:gd name="connsiteY5" fmla="*/ 477288 h 827332"/>
              <a:gd name="connsiteX6" fmla="*/ 833682 w 1428573"/>
              <a:gd name="connsiteY6" fmla="*/ 410613 h 827332"/>
              <a:gd name="connsiteX7" fmla="*/ 1417088 w 1428573"/>
              <a:gd name="connsiteY7" fmla="*/ 674932 h 827332"/>
              <a:gd name="connsiteX0" fmla="*/ 1420075 w 1431560"/>
              <a:gd name="connsiteY0" fmla="*/ 674932 h 827332"/>
              <a:gd name="connsiteX1" fmla="*/ 1417694 w 1431560"/>
              <a:gd name="connsiteY1" fmla="*/ 103432 h 827332"/>
              <a:gd name="connsiteX2" fmla="*/ 562825 w 1431560"/>
              <a:gd name="connsiteY2" fmla="*/ 39138 h 827332"/>
              <a:gd name="connsiteX3" fmla="*/ 29425 w 1431560"/>
              <a:gd name="connsiteY3" fmla="*/ 508244 h 827332"/>
              <a:gd name="connsiteX4" fmla="*/ 15138 w 1431560"/>
              <a:gd name="connsiteY4" fmla="*/ 827332 h 827332"/>
              <a:gd name="connsiteX5" fmla="*/ 298506 w 1431560"/>
              <a:gd name="connsiteY5" fmla="*/ 477288 h 827332"/>
              <a:gd name="connsiteX6" fmla="*/ 836669 w 1431560"/>
              <a:gd name="connsiteY6" fmla="*/ 410613 h 827332"/>
              <a:gd name="connsiteX7" fmla="*/ 1420075 w 1431560"/>
              <a:gd name="connsiteY7" fmla="*/ 674932 h 827332"/>
              <a:gd name="connsiteX0" fmla="*/ 1420075 w 1431560"/>
              <a:gd name="connsiteY0" fmla="*/ 674932 h 827332"/>
              <a:gd name="connsiteX1" fmla="*/ 1417694 w 1431560"/>
              <a:gd name="connsiteY1" fmla="*/ 103432 h 827332"/>
              <a:gd name="connsiteX2" fmla="*/ 562825 w 1431560"/>
              <a:gd name="connsiteY2" fmla="*/ 39138 h 827332"/>
              <a:gd name="connsiteX3" fmla="*/ 29425 w 1431560"/>
              <a:gd name="connsiteY3" fmla="*/ 508244 h 827332"/>
              <a:gd name="connsiteX4" fmla="*/ 15138 w 1431560"/>
              <a:gd name="connsiteY4" fmla="*/ 827332 h 827332"/>
              <a:gd name="connsiteX5" fmla="*/ 298506 w 1431560"/>
              <a:gd name="connsiteY5" fmla="*/ 477288 h 827332"/>
              <a:gd name="connsiteX6" fmla="*/ 836669 w 1431560"/>
              <a:gd name="connsiteY6" fmla="*/ 410613 h 827332"/>
              <a:gd name="connsiteX7" fmla="*/ 1420075 w 1431560"/>
              <a:gd name="connsiteY7" fmla="*/ 674932 h 827332"/>
              <a:gd name="connsiteX0" fmla="*/ 1417089 w 1428574"/>
              <a:gd name="connsiteY0" fmla="*/ 674932 h 827332"/>
              <a:gd name="connsiteX1" fmla="*/ 1414708 w 1428574"/>
              <a:gd name="connsiteY1" fmla="*/ 103432 h 827332"/>
              <a:gd name="connsiteX2" fmla="*/ 559839 w 1428574"/>
              <a:gd name="connsiteY2" fmla="*/ 39138 h 827332"/>
              <a:gd name="connsiteX3" fmla="*/ 26439 w 1428574"/>
              <a:gd name="connsiteY3" fmla="*/ 508244 h 827332"/>
              <a:gd name="connsiteX4" fmla="*/ 12152 w 1428574"/>
              <a:gd name="connsiteY4" fmla="*/ 827332 h 827332"/>
              <a:gd name="connsiteX5" fmla="*/ 295520 w 1428574"/>
              <a:gd name="connsiteY5" fmla="*/ 477288 h 827332"/>
              <a:gd name="connsiteX6" fmla="*/ 833683 w 1428574"/>
              <a:gd name="connsiteY6" fmla="*/ 410613 h 827332"/>
              <a:gd name="connsiteX7" fmla="*/ 1417089 w 1428574"/>
              <a:gd name="connsiteY7" fmla="*/ 674932 h 827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28574" h="827332">
                <a:moveTo>
                  <a:pt x="1417089" y="674932"/>
                </a:moveTo>
                <a:cubicBezTo>
                  <a:pt x="1435346" y="448714"/>
                  <a:pt x="1429789" y="289169"/>
                  <a:pt x="1414708" y="103432"/>
                </a:cubicBezTo>
                <a:cubicBezTo>
                  <a:pt x="1129752" y="1038"/>
                  <a:pt x="880514" y="-34681"/>
                  <a:pt x="559839" y="39138"/>
                </a:cubicBezTo>
                <a:cubicBezTo>
                  <a:pt x="324968" y="93205"/>
                  <a:pt x="103590" y="255487"/>
                  <a:pt x="26439" y="508244"/>
                </a:cubicBezTo>
                <a:cubicBezTo>
                  <a:pt x="-7732" y="620193"/>
                  <a:pt x="-4518" y="728112"/>
                  <a:pt x="12152" y="827332"/>
                </a:cubicBezTo>
                <a:cubicBezTo>
                  <a:pt x="28424" y="650723"/>
                  <a:pt x="130471" y="560134"/>
                  <a:pt x="295520" y="477288"/>
                </a:cubicBezTo>
                <a:cubicBezTo>
                  <a:pt x="460084" y="394686"/>
                  <a:pt x="654458" y="387116"/>
                  <a:pt x="833683" y="410613"/>
                </a:cubicBezTo>
                <a:cubicBezTo>
                  <a:pt x="1142452" y="451094"/>
                  <a:pt x="1298820" y="584445"/>
                  <a:pt x="1417089" y="674932"/>
                </a:cubicBezTo>
                <a:close/>
              </a:path>
            </a:pathLst>
          </a:custGeom>
          <a:solidFill>
            <a:srgbClr val="0F238C"/>
          </a:solidFill>
          <a:ln w="127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noProof="0">
              <a:solidFill>
                <a:schemeClr val="accent1"/>
              </a:solidFill>
            </a:endParaRPr>
          </a:p>
        </p:txBody>
      </p:sp>
      <p:sp>
        <p:nvSpPr>
          <p:cNvPr id="16" name="Tijdelijke aanduiding voor tekst 14"/>
          <p:cNvSpPr>
            <a:spLocks noGrp="1"/>
          </p:cNvSpPr>
          <p:nvPr>
            <p:ph type="body" sz="quarter" idx="14" hasCustomPrompt="1"/>
          </p:nvPr>
        </p:nvSpPr>
        <p:spPr>
          <a:xfrm>
            <a:off x="478857" y="3918473"/>
            <a:ext cx="7920000" cy="330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None/>
              <a:defRPr sz="900" b="0" spc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&lt;Function&gt;</a:t>
            </a:r>
          </a:p>
        </p:txBody>
      </p:sp>
    </p:spTree>
    <p:extLst>
      <p:ext uri="{BB962C8B-B14F-4D97-AF65-F5344CB8AC3E}">
        <p14:creationId xmlns:p14="http://schemas.microsoft.com/office/powerpoint/2010/main" val="3390472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ML Cover Slide 0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705600" cy="51435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86000" y="3456000"/>
            <a:ext cx="7920000" cy="3816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r">
              <a:lnSpc>
                <a:spcPts val="1500"/>
              </a:lnSpc>
              <a:spcBef>
                <a:spcPts val="0"/>
              </a:spcBef>
              <a:buNone/>
              <a:defRPr sz="1300" baseline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Name of the presenter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86000" y="4410000"/>
            <a:ext cx="7920000" cy="140400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ts val="11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&lt;Date&gt;  |  &lt;Place&gt;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86000" y="2840447"/>
            <a:ext cx="7920000" cy="61555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algn="r">
              <a:lnSpc>
                <a:spcPts val="2400"/>
              </a:lnSpc>
              <a:spcBef>
                <a:spcPts val="0"/>
              </a:spcBef>
              <a:buNone/>
              <a:defRPr sz="2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Fill in your title here: </a:t>
            </a:r>
            <a:br>
              <a:rPr lang="en-US" noProof="0"/>
            </a:br>
            <a:r>
              <a:rPr lang="en-US" noProof="0"/>
              <a:t>This template is for presentation purposes only </a:t>
            </a:r>
          </a:p>
        </p:txBody>
      </p:sp>
      <p:sp>
        <p:nvSpPr>
          <p:cNvPr id="17" name="Tijdelijke aanduiding voor tekst 14"/>
          <p:cNvSpPr>
            <a:spLocks noGrp="1"/>
          </p:cNvSpPr>
          <p:nvPr>
            <p:ph type="body" sz="quarter" idx="15" hasCustomPrompt="1"/>
          </p:nvPr>
        </p:nvSpPr>
        <p:spPr>
          <a:xfrm>
            <a:off x="478857" y="3918473"/>
            <a:ext cx="7920000" cy="330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None/>
              <a:defRPr sz="900" b="0" spc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&lt;Function&gt;</a:t>
            </a:r>
          </a:p>
        </p:txBody>
      </p:sp>
      <p:sp>
        <p:nvSpPr>
          <p:cNvPr id="18" name="Freeform 27"/>
          <p:cNvSpPr/>
          <p:nvPr userDrawn="1"/>
        </p:nvSpPr>
        <p:spPr>
          <a:xfrm>
            <a:off x="6834277" y="1361500"/>
            <a:ext cx="417231" cy="446740"/>
          </a:xfrm>
          <a:custGeom>
            <a:avLst/>
            <a:gdLst>
              <a:gd name="connsiteX0" fmla="*/ 0 w 1097756"/>
              <a:gd name="connsiteY0" fmla="*/ 0 h 1181100"/>
              <a:gd name="connsiteX1" fmla="*/ 745331 w 1097756"/>
              <a:gd name="connsiteY1" fmla="*/ 0 h 1181100"/>
              <a:gd name="connsiteX2" fmla="*/ 1097756 w 1097756"/>
              <a:gd name="connsiteY2" fmla="*/ 1178718 h 1181100"/>
              <a:gd name="connsiteX3" fmla="*/ 523875 w 1097756"/>
              <a:gd name="connsiteY3" fmla="*/ 1181100 h 1181100"/>
              <a:gd name="connsiteX4" fmla="*/ 0 w 1097756"/>
              <a:gd name="connsiteY4" fmla="*/ 0 h 1181100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523875 w 1400175"/>
              <a:gd name="connsiteY3" fmla="*/ 1181100 h 2197893"/>
              <a:gd name="connsiteX4" fmla="*/ 0 w 1400175"/>
              <a:gd name="connsiteY4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1047750 w 1400175"/>
              <a:gd name="connsiteY3" fmla="*/ 1790700 h 2197893"/>
              <a:gd name="connsiteX4" fmla="*/ 523875 w 1400175"/>
              <a:gd name="connsiteY4" fmla="*/ 1181100 h 2197893"/>
              <a:gd name="connsiteX5" fmla="*/ 0 w 1400175"/>
              <a:gd name="connsiteY5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50094 w 1400175"/>
              <a:gd name="connsiteY3" fmla="*/ 2193131 h 2197893"/>
              <a:gd name="connsiteX4" fmla="*/ 523875 w 1400175"/>
              <a:gd name="connsiteY4" fmla="*/ 1181100 h 2197893"/>
              <a:gd name="connsiteX5" fmla="*/ 0 w 1400175"/>
              <a:gd name="connsiteY5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523875 w 1400175"/>
              <a:gd name="connsiteY4" fmla="*/ 1181100 h 2197893"/>
              <a:gd name="connsiteX5" fmla="*/ 0 w 1400175"/>
              <a:gd name="connsiteY5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0 w 1400175"/>
              <a:gd name="connsiteY5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230981 w 1400175"/>
              <a:gd name="connsiteY5" fmla="*/ 295275 h 2197893"/>
              <a:gd name="connsiteX6" fmla="*/ 0 w 1400175"/>
              <a:gd name="connsiteY6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95262 w 1400175"/>
              <a:gd name="connsiteY5" fmla="*/ 1204913 h 2197893"/>
              <a:gd name="connsiteX6" fmla="*/ 0 w 1400175"/>
              <a:gd name="connsiteY6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0 w 1400175"/>
              <a:gd name="connsiteY6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135731 w 1400175"/>
              <a:gd name="connsiteY6" fmla="*/ 1102518 h 2197893"/>
              <a:gd name="connsiteX7" fmla="*/ 0 w 1400175"/>
              <a:gd name="connsiteY7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0 w 1400175"/>
              <a:gd name="connsiteY7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378619 w 1400175"/>
              <a:gd name="connsiteY7" fmla="*/ 862012 h 2197893"/>
              <a:gd name="connsiteX8" fmla="*/ 0 w 1400175"/>
              <a:gd name="connsiteY8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0 w 1400175"/>
              <a:gd name="connsiteY8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426244 w 1400175"/>
              <a:gd name="connsiteY8" fmla="*/ 1112043 h 2197893"/>
              <a:gd name="connsiteX9" fmla="*/ 0 w 1400175"/>
              <a:gd name="connsiteY9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88106 w 1400175"/>
              <a:gd name="connsiteY8" fmla="*/ 1795462 h 2197893"/>
              <a:gd name="connsiteX9" fmla="*/ 0 w 1400175"/>
              <a:gd name="connsiteY9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88106 w 1400175"/>
              <a:gd name="connsiteY8" fmla="*/ 1795462 h 2197893"/>
              <a:gd name="connsiteX9" fmla="*/ 52388 w 1400175"/>
              <a:gd name="connsiteY9" fmla="*/ 1131093 h 2197893"/>
              <a:gd name="connsiteX10" fmla="*/ 0 w 1400175"/>
              <a:gd name="connsiteY10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88106 w 1400175"/>
              <a:gd name="connsiteY8" fmla="*/ 1795462 h 2197893"/>
              <a:gd name="connsiteX9" fmla="*/ 0 w 1400175"/>
              <a:gd name="connsiteY9" fmla="*/ 2197893 h 2197893"/>
              <a:gd name="connsiteX10" fmla="*/ 0 w 1400175"/>
              <a:gd name="connsiteY10" fmla="*/ 0 h 2197893"/>
              <a:gd name="connsiteX0" fmla="*/ 4762 w 1404937"/>
              <a:gd name="connsiteY0" fmla="*/ 0 h 2197893"/>
              <a:gd name="connsiteX1" fmla="*/ 750093 w 1404937"/>
              <a:gd name="connsiteY1" fmla="*/ 0 h 2197893"/>
              <a:gd name="connsiteX2" fmla="*/ 1404937 w 1404937"/>
              <a:gd name="connsiteY2" fmla="*/ 2197893 h 2197893"/>
              <a:gd name="connsiteX3" fmla="*/ 752475 w 1404937"/>
              <a:gd name="connsiteY3" fmla="*/ 2195512 h 2197893"/>
              <a:gd name="connsiteX4" fmla="*/ 376237 w 1404937"/>
              <a:gd name="connsiteY4" fmla="*/ 478631 h 2197893"/>
              <a:gd name="connsiteX5" fmla="*/ 178592 w 1404937"/>
              <a:gd name="connsiteY5" fmla="*/ 1383507 h 2197893"/>
              <a:gd name="connsiteX6" fmla="*/ 614362 w 1404937"/>
              <a:gd name="connsiteY6" fmla="*/ 1385887 h 2197893"/>
              <a:gd name="connsiteX7" fmla="*/ 697706 w 1404937"/>
              <a:gd name="connsiteY7" fmla="*/ 1797843 h 2197893"/>
              <a:gd name="connsiteX8" fmla="*/ 92868 w 1404937"/>
              <a:gd name="connsiteY8" fmla="*/ 1795462 h 2197893"/>
              <a:gd name="connsiteX9" fmla="*/ 4762 w 1404937"/>
              <a:gd name="connsiteY9" fmla="*/ 2197893 h 2197893"/>
              <a:gd name="connsiteX10" fmla="*/ 0 w 1404937"/>
              <a:gd name="connsiteY10" fmla="*/ 2045493 h 2197893"/>
              <a:gd name="connsiteX11" fmla="*/ 4762 w 1404937"/>
              <a:gd name="connsiteY11" fmla="*/ 0 h 2197893"/>
              <a:gd name="connsiteX0" fmla="*/ 652462 w 2052637"/>
              <a:gd name="connsiteY0" fmla="*/ 0 h 2197893"/>
              <a:gd name="connsiteX1" fmla="*/ 1397793 w 2052637"/>
              <a:gd name="connsiteY1" fmla="*/ 0 h 2197893"/>
              <a:gd name="connsiteX2" fmla="*/ 2052637 w 2052637"/>
              <a:gd name="connsiteY2" fmla="*/ 2197893 h 2197893"/>
              <a:gd name="connsiteX3" fmla="*/ 1400175 w 2052637"/>
              <a:gd name="connsiteY3" fmla="*/ 2195512 h 2197893"/>
              <a:gd name="connsiteX4" fmla="*/ 1023937 w 2052637"/>
              <a:gd name="connsiteY4" fmla="*/ 478631 h 2197893"/>
              <a:gd name="connsiteX5" fmla="*/ 826292 w 2052637"/>
              <a:gd name="connsiteY5" fmla="*/ 1383507 h 2197893"/>
              <a:gd name="connsiteX6" fmla="*/ 1262062 w 2052637"/>
              <a:gd name="connsiteY6" fmla="*/ 1385887 h 2197893"/>
              <a:gd name="connsiteX7" fmla="*/ 1345406 w 2052637"/>
              <a:gd name="connsiteY7" fmla="*/ 1797843 h 2197893"/>
              <a:gd name="connsiteX8" fmla="*/ 740568 w 2052637"/>
              <a:gd name="connsiteY8" fmla="*/ 1795462 h 2197893"/>
              <a:gd name="connsiteX9" fmla="*/ 652462 w 2052637"/>
              <a:gd name="connsiteY9" fmla="*/ 2197893 h 2197893"/>
              <a:gd name="connsiteX10" fmla="*/ 0 w 2052637"/>
              <a:gd name="connsiteY10" fmla="*/ 2193131 h 2197893"/>
              <a:gd name="connsiteX11" fmla="*/ 652462 w 2052637"/>
              <a:gd name="connsiteY11" fmla="*/ 0 h 2197893"/>
              <a:gd name="connsiteX0" fmla="*/ 652462 w 2052637"/>
              <a:gd name="connsiteY0" fmla="*/ 1 h 2197894"/>
              <a:gd name="connsiteX1" fmla="*/ 1397793 w 2052637"/>
              <a:gd name="connsiteY1" fmla="*/ 1 h 2197894"/>
              <a:gd name="connsiteX2" fmla="*/ 2052637 w 2052637"/>
              <a:gd name="connsiteY2" fmla="*/ 2197894 h 2197894"/>
              <a:gd name="connsiteX3" fmla="*/ 1400175 w 2052637"/>
              <a:gd name="connsiteY3" fmla="*/ 2195513 h 2197894"/>
              <a:gd name="connsiteX4" fmla="*/ 1023937 w 2052637"/>
              <a:gd name="connsiteY4" fmla="*/ 478632 h 2197894"/>
              <a:gd name="connsiteX5" fmla="*/ 826292 w 2052637"/>
              <a:gd name="connsiteY5" fmla="*/ 1383508 h 2197894"/>
              <a:gd name="connsiteX6" fmla="*/ 1262062 w 2052637"/>
              <a:gd name="connsiteY6" fmla="*/ 1385888 h 2197894"/>
              <a:gd name="connsiteX7" fmla="*/ 1345406 w 2052637"/>
              <a:gd name="connsiteY7" fmla="*/ 1797844 h 2197894"/>
              <a:gd name="connsiteX8" fmla="*/ 740568 w 2052637"/>
              <a:gd name="connsiteY8" fmla="*/ 1795463 h 2197894"/>
              <a:gd name="connsiteX9" fmla="*/ 652462 w 2052637"/>
              <a:gd name="connsiteY9" fmla="*/ 2197894 h 2197894"/>
              <a:gd name="connsiteX10" fmla="*/ 0 w 2052637"/>
              <a:gd name="connsiteY10" fmla="*/ 2193132 h 2197894"/>
              <a:gd name="connsiteX11" fmla="*/ 652462 w 2052637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62133 w 2052708"/>
              <a:gd name="connsiteY6" fmla="*/ 1385888 h 2197894"/>
              <a:gd name="connsiteX7" fmla="*/ 1345477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14508 w 2052708"/>
              <a:gd name="connsiteY6" fmla="*/ 1383506 h 2197894"/>
              <a:gd name="connsiteX7" fmla="*/ 1345477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14508 w 2052708"/>
              <a:gd name="connsiteY6" fmla="*/ 1383506 h 2197894"/>
              <a:gd name="connsiteX7" fmla="*/ 1312139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19271 w 2052708"/>
              <a:gd name="connsiteY6" fmla="*/ 1376363 h 2197894"/>
              <a:gd name="connsiteX7" fmla="*/ 1312139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21653 w 2052708"/>
              <a:gd name="connsiteY6" fmla="*/ 1383507 h 2197894"/>
              <a:gd name="connsiteX7" fmla="*/ 1312139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21653 w 2052708"/>
              <a:gd name="connsiteY6" fmla="*/ 1383507 h 2197894"/>
              <a:gd name="connsiteX7" fmla="*/ 1312139 w 2052708"/>
              <a:gd name="connsiteY7" fmla="*/ 1795463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052708" h="2197894">
                <a:moveTo>
                  <a:pt x="652533" y="1"/>
                </a:moveTo>
                <a:lnTo>
                  <a:pt x="1397864" y="1"/>
                </a:lnTo>
                <a:lnTo>
                  <a:pt x="2052708" y="2197894"/>
                </a:lnTo>
                <a:lnTo>
                  <a:pt x="1400246" y="2195513"/>
                </a:lnTo>
                <a:lnTo>
                  <a:pt x="1024008" y="478632"/>
                </a:lnTo>
                <a:lnTo>
                  <a:pt x="826363" y="1383508"/>
                </a:lnTo>
                <a:lnTo>
                  <a:pt x="1221653" y="1383507"/>
                </a:lnTo>
                <a:lnTo>
                  <a:pt x="1312139" y="1795463"/>
                </a:lnTo>
                <a:lnTo>
                  <a:pt x="740639" y="1795463"/>
                </a:lnTo>
                <a:lnTo>
                  <a:pt x="652533" y="2197894"/>
                </a:lnTo>
                <a:lnTo>
                  <a:pt x="71" y="2193132"/>
                </a:lnTo>
                <a:cubicBezTo>
                  <a:pt x="-7867" y="2197101"/>
                  <a:pt x="648565" y="-1587"/>
                  <a:pt x="652533" y="1"/>
                </a:cubicBezTo>
                <a:close/>
              </a:path>
            </a:pathLst>
          </a:custGeom>
          <a:solidFill>
            <a:srgbClr val="0F238C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noProof="0">
              <a:solidFill>
                <a:schemeClr val="accent1"/>
              </a:solidFill>
            </a:endParaRPr>
          </a:p>
        </p:txBody>
      </p:sp>
      <p:sp>
        <p:nvSpPr>
          <p:cNvPr id="19" name="Freeform 28"/>
          <p:cNvSpPr/>
          <p:nvPr userDrawn="1"/>
        </p:nvSpPr>
        <p:spPr>
          <a:xfrm>
            <a:off x="7648693" y="1361015"/>
            <a:ext cx="508209" cy="446742"/>
          </a:xfrm>
          <a:custGeom>
            <a:avLst/>
            <a:gdLst>
              <a:gd name="connsiteX0" fmla="*/ 0 w 688182"/>
              <a:gd name="connsiteY0" fmla="*/ 950119 h 950119"/>
              <a:gd name="connsiteX1" fmla="*/ 611982 w 688182"/>
              <a:gd name="connsiteY1" fmla="*/ 950119 h 950119"/>
              <a:gd name="connsiteX2" fmla="*/ 688182 w 688182"/>
              <a:gd name="connsiteY2" fmla="*/ 0 h 950119"/>
              <a:gd name="connsiteX3" fmla="*/ 0 w 688182"/>
              <a:gd name="connsiteY3" fmla="*/ 950119 h 950119"/>
              <a:gd name="connsiteX0" fmla="*/ 0 w 688182"/>
              <a:gd name="connsiteY0" fmla="*/ 950119 h 950119"/>
              <a:gd name="connsiteX1" fmla="*/ 611982 w 688182"/>
              <a:gd name="connsiteY1" fmla="*/ 950119 h 950119"/>
              <a:gd name="connsiteX2" fmla="*/ 688182 w 688182"/>
              <a:gd name="connsiteY2" fmla="*/ 0 h 950119"/>
              <a:gd name="connsiteX3" fmla="*/ 214313 w 688182"/>
              <a:gd name="connsiteY3" fmla="*/ 652463 h 950119"/>
              <a:gd name="connsiteX4" fmla="*/ 0 w 688182"/>
              <a:gd name="connsiteY4" fmla="*/ 950119 h 950119"/>
              <a:gd name="connsiteX0" fmla="*/ 0 w 688182"/>
              <a:gd name="connsiteY0" fmla="*/ 950119 h 950119"/>
              <a:gd name="connsiteX1" fmla="*/ 611982 w 688182"/>
              <a:gd name="connsiteY1" fmla="*/ 950119 h 950119"/>
              <a:gd name="connsiteX2" fmla="*/ 688182 w 688182"/>
              <a:gd name="connsiteY2" fmla="*/ 0 h 950119"/>
              <a:gd name="connsiteX3" fmla="*/ 111919 w 688182"/>
              <a:gd name="connsiteY3" fmla="*/ 95250 h 950119"/>
              <a:gd name="connsiteX4" fmla="*/ 0 w 688182"/>
              <a:gd name="connsiteY4" fmla="*/ 950119 h 950119"/>
              <a:gd name="connsiteX0" fmla="*/ 0 w 723900"/>
              <a:gd name="connsiteY0" fmla="*/ 1395413 h 1395413"/>
              <a:gd name="connsiteX1" fmla="*/ 611982 w 723900"/>
              <a:gd name="connsiteY1" fmla="*/ 1395413 h 1395413"/>
              <a:gd name="connsiteX2" fmla="*/ 723900 w 723900"/>
              <a:gd name="connsiteY2" fmla="*/ 0 h 1395413"/>
              <a:gd name="connsiteX3" fmla="*/ 111919 w 723900"/>
              <a:gd name="connsiteY3" fmla="*/ 540544 h 1395413"/>
              <a:gd name="connsiteX4" fmla="*/ 0 w 723900"/>
              <a:gd name="connsiteY4" fmla="*/ 1395413 h 1395413"/>
              <a:gd name="connsiteX0" fmla="*/ 0 w 723900"/>
              <a:gd name="connsiteY0" fmla="*/ 2031206 h 2031206"/>
              <a:gd name="connsiteX1" fmla="*/ 611982 w 723900"/>
              <a:gd name="connsiteY1" fmla="*/ 2031206 h 2031206"/>
              <a:gd name="connsiteX2" fmla="*/ 723900 w 723900"/>
              <a:gd name="connsiteY2" fmla="*/ 635793 h 2031206"/>
              <a:gd name="connsiteX3" fmla="*/ 266700 w 723900"/>
              <a:gd name="connsiteY3" fmla="*/ 0 h 2031206"/>
              <a:gd name="connsiteX4" fmla="*/ 0 w 723900"/>
              <a:gd name="connsiteY4" fmla="*/ 2031206 h 2031206"/>
              <a:gd name="connsiteX0" fmla="*/ 0 w 723900"/>
              <a:gd name="connsiteY0" fmla="*/ 2195513 h 2195513"/>
              <a:gd name="connsiteX1" fmla="*/ 611982 w 723900"/>
              <a:gd name="connsiteY1" fmla="*/ 2195513 h 2195513"/>
              <a:gd name="connsiteX2" fmla="*/ 723900 w 723900"/>
              <a:gd name="connsiteY2" fmla="*/ 800100 h 2195513"/>
              <a:gd name="connsiteX3" fmla="*/ 283369 w 723900"/>
              <a:gd name="connsiteY3" fmla="*/ 0 h 2195513"/>
              <a:gd name="connsiteX4" fmla="*/ 0 w 723900"/>
              <a:gd name="connsiteY4" fmla="*/ 2195513 h 2195513"/>
              <a:gd name="connsiteX0" fmla="*/ 0 w 723900"/>
              <a:gd name="connsiteY0" fmla="*/ 2195513 h 2195513"/>
              <a:gd name="connsiteX1" fmla="*/ 611982 w 723900"/>
              <a:gd name="connsiteY1" fmla="*/ 2195513 h 2195513"/>
              <a:gd name="connsiteX2" fmla="*/ 723900 w 723900"/>
              <a:gd name="connsiteY2" fmla="*/ 800100 h 2195513"/>
              <a:gd name="connsiteX3" fmla="*/ 500063 w 723900"/>
              <a:gd name="connsiteY3" fmla="*/ 388145 h 2195513"/>
              <a:gd name="connsiteX4" fmla="*/ 283369 w 723900"/>
              <a:gd name="connsiteY4" fmla="*/ 0 h 2195513"/>
              <a:gd name="connsiteX5" fmla="*/ 0 w 723900"/>
              <a:gd name="connsiteY5" fmla="*/ 2195513 h 2195513"/>
              <a:gd name="connsiteX0" fmla="*/ 0 w 945356"/>
              <a:gd name="connsiteY0" fmla="*/ 2195513 h 2195513"/>
              <a:gd name="connsiteX1" fmla="*/ 611982 w 945356"/>
              <a:gd name="connsiteY1" fmla="*/ 2195513 h 2195513"/>
              <a:gd name="connsiteX2" fmla="*/ 723900 w 945356"/>
              <a:gd name="connsiteY2" fmla="*/ 800100 h 2195513"/>
              <a:gd name="connsiteX3" fmla="*/ 945356 w 945356"/>
              <a:gd name="connsiteY3" fmla="*/ 2382 h 2195513"/>
              <a:gd name="connsiteX4" fmla="*/ 283369 w 945356"/>
              <a:gd name="connsiteY4" fmla="*/ 0 h 2195513"/>
              <a:gd name="connsiteX5" fmla="*/ 0 w 945356"/>
              <a:gd name="connsiteY5" fmla="*/ 2195513 h 2195513"/>
              <a:gd name="connsiteX0" fmla="*/ 0 w 945356"/>
              <a:gd name="connsiteY0" fmla="*/ 2195513 h 2195513"/>
              <a:gd name="connsiteX1" fmla="*/ 611982 w 945356"/>
              <a:gd name="connsiteY1" fmla="*/ 2195513 h 2195513"/>
              <a:gd name="connsiteX2" fmla="*/ 723900 w 945356"/>
              <a:gd name="connsiteY2" fmla="*/ 800100 h 2195513"/>
              <a:gd name="connsiteX3" fmla="*/ 790575 w 945356"/>
              <a:gd name="connsiteY3" fmla="*/ 545308 h 2195513"/>
              <a:gd name="connsiteX4" fmla="*/ 945356 w 945356"/>
              <a:gd name="connsiteY4" fmla="*/ 2382 h 2195513"/>
              <a:gd name="connsiteX5" fmla="*/ 283369 w 945356"/>
              <a:gd name="connsiteY5" fmla="*/ 0 h 2195513"/>
              <a:gd name="connsiteX6" fmla="*/ 0 w 945356"/>
              <a:gd name="connsiteY6" fmla="*/ 2195513 h 2195513"/>
              <a:gd name="connsiteX0" fmla="*/ 0 w 1252537"/>
              <a:gd name="connsiteY0" fmla="*/ 2195513 h 2195513"/>
              <a:gd name="connsiteX1" fmla="*/ 611982 w 1252537"/>
              <a:gd name="connsiteY1" fmla="*/ 2195513 h 2195513"/>
              <a:gd name="connsiteX2" fmla="*/ 723900 w 1252537"/>
              <a:gd name="connsiteY2" fmla="*/ 800100 h 2195513"/>
              <a:gd name="connsiteX3" fmla="*/ 1252537 w 1252537"/>
              <a:gd name="connsiteY3" fmla="*/ 1333501 h 2195513"/>
              <a:gd name="connsiteX4" fmla="*/ 945356 w 1252537"/>
              <a:gd name="connsiteY4" fmla="*/ 2382 h 2195513"/>
              <a:gd name="connsiteX5" fmla="*/ 283369 w 1252537"/>
              <a:gd name="connsiteY5" fmla="*/ 0 h 2195513"/>
              <a:gd name="connsiteX6" fmla="*/ 0 w 1252537"/>
              <a:gd name="connsiteY6" fmla="*/ 2195513 h 2195513"/>
              <a:gd name="connsiteX0" fmla="*/ 0 w 1252537"/>
              <a:gd name="connsiteY0" fmla="*/ 2195513 h 2195513"/>
              <a:gd name="connsiteX1" fmla="*/ 611982 w 1252537"/>
              <a:gd name="connsiteY1" fmla="*/ 2195513 h 2195513"/>
              <a:gd name="connsiteX2" fmla="*/ 723900 w 1252537"/>
              <a:gd name="connsiteY2" fmla="*/ 800100 h 2195513"/>
              <a:gd name="connsiteX3" fmla="*/ 1031082 w 1252537"/>
              <a:gd name="connsiteY3" fmla="*/ 1112045 h 2195513"/>
              <a:gd name="connsiteX4" fmla="*/ 1252537 w 1252537"/>
              <a:gd name="connsiteY4" fmla="*/ 1333501 h 2195513"/>
              <a:gd name="connsiteX5" fmla="*/ 945356 w 1252537"/>
              <a:gd name="connsiteY5" fmla="*/ 2382 h 2195513"/>
              <a:gd name="connsiteX6" fmla="*/ 283369 w 1252537"/>
              <a:gd name="connsiteY6" fmla="*/ 0 h 2195513"/>
              <a:gd name="connsiteX7" fmla="*/ 0 w 1252537"/>
              <a:gd name="connsiteY7" fmla="*/ 2195513 h 2195513"/>
              <a:gd name="connsiteX0" fmla="*/ 0 w 1252537"/>
              <a:gd name="connsiteY0" fmla="*/ 2195513 h 2195513"/>
              <a:gd name="connsiteX1" fmla="*/ 611982 w 1252537"/>
              <a:gd name="connsiteY1" fmla="*/ 2195513 h 2195513"/>
              <a:gd name="connsiteX2" fmla="*/ 723900 w 1252537"/>
              <a:gd name="connsiteY2" fmla="*/ 800100 h 2195513"/>
              <a:gd name="connsiteX3" fmla="*/ 1007270 w 1252537"/>
              <a:gd name="connsiteY3" fmla="*/ 2193132 h 2195513"/>
              <a:gd name="connsiteX4" fmla="*/ 1252537 w 1252537"/>
              <a:gd name="connsiteY4" fmla="*/ 1333501 h 2195513"/>
              <a:gd name="connsiteX5" fmla="*/ 945356 w 1252537"/>
              <a:gd name="connsiteY5" fmla="*/ 2382 h 2195513"/>
              <a:gd name="connsiteX6" fmla="*/ 283369 w 1252537"/>
              <a:gd name="connsiteY6" fmla="*/ 0 h 2195513"/>
              <a:gd name="connsiteX7" fmla="*/ 0 w 1252537"/>
              <a:gd name="connsiteY7" fmla="*/ 2195513 h 2195513"/>
              <a:gd name="connsiteX0" fmla="*/ 0 w 1252537"/>
              <a:gd name="connsiteY0" fmla="*/ 2195513 h 2195513"/>
              <a:gd name="connsiteX1" fmla="*/ 611982 w 1252537"/>
              <a:gd name="connsiteY1" fmla="*/ 2195513 h 2195513"/>
              <a:gd name="connsiteX2" fmla="*/ 723900 w 1252537"/>
              <a:gd name="connsiteY2" fmla="*/ 800100 h 2195513"/>
              <a:gd name="connsiteX3" fmla="*/ 1007270 w 1252537"/>
              <a:gd name="connsiteY3" fmla="*/ 2193132 h 2195513"/>
              <a:gd name="connsiteX4" fmla="*/ 1173957 w 1252537"/>
              <a:gd name="connsiteY4" fmla="*/ 1600202 h 2195513"/>
              <a:gd name="connsiteX5" fmla="*/ 1252537 w 1252537"/>
              <a:gd name="connsiteY5" fmla="*/ 1333501 h 2195513"/>
              <a:gd name="connsiteX6" fmla="*/ 945356 w 1252537"/>
              <a:gd name="connsiteY6" fmla="*/ 2382 h 2195513"/>
              <a:gd name="connsiteX7" fmla="*/ 283369 w 1252537"/>
              <a:gd name="connsiteY7" fmla="*/ 0 h 2195513"/>
              <a:gd name="connsiteX8" fmla="*/ 0 w 1252537"/>
              <a:gd name="connsiteY8" fmla="*/ 2195513 h 2195513"/>
              <a:gd name="connsiteX0" fmla="*/ 0 w 1488282"/>
              <a:gd name="connsiteY0" fmla="*/ 2195513 h 2195514"/>
              <a:gd name="connsiteX1" fmla="*/ 611982 w 1488282"/>
              <a:gd name="connsiteY1" fmla="*/ 2195513 h 2195514"/>
              <a:gd name="connsiteX2" fmla="*/ 723900 w 1488282"/>
              <a:gd name="connsiteY2" fmla="*/ 800100 h 2195514"/>
              <a:gd name="connsiteX3" fmla="*/ 1007270 w 1488282"/>
              <a:gd name="connsiteY3" fmla="*/ 2193132 h 2195514"/>
              <a:gd name="connsiteX4" fmla="*/ 1488282 w 1488282"/>
              <a:gd name="connsiteY4" fmla="*/ 2195514 h 2195514"/>
              <a:gd name="connsiteX5" fmla="*/ 1252537 w 1488282"/>
              <a:gd name="connsiteY5" fmla="*/ 1333501 h 2195514"/>
              <a:gd name="connsiteX6" fmla="*/ 945356 w 1488282"/>
              <a:gd name="connsiteY6" fmla="*/ 2382 h 2195514"/>
              <a:gd name="connsiteX7" fmla="*/ 283369 w 1488282"/>
              <a:gd name="connsiteY7" fmla="*/ 0 h 2195514"/>
              <a:gd name="connsiteX8" fmla="*/ 0 w 1488282"/>
              <a:gd name="connsiteY8" fmla="*/ 2195513 h 2195514"/>
              <a:gd name="connsiteX0" fmla="*/ 0 w 1488282"/>
              <a:gd name="connsiteY0" fmla="*/ 2195513 h 2195514"/>
              <a:gd name="connsiteX1" fmla="*/ 611982 w 1488282"/>
              <a:gd name="connsiteY1" fmla="*/ 2195513 h 2195514"/>
              <a:gd name="connsiteX2" fmla="*/ 723900 w 1488282"/>
              <a:gd name="connsiteY2" fmla="*/ 800100 h 2195514"/>
              <a:gd name="connsiteX3" fmla="*/ 1007270 w 1488282"/>
              <a:gd name="connsiteY3" fmla="*/ 2193132 h 2195514"/>
              <a:gd name="connsiteX4" fmla="*/ 1488282 w 1488282"/>
              <a:gd name="connsiteY4" fmla="*/ 2195514 h 2195514"/>
              <a:gd name="connsiteX5" fmla="*/ 1352549 w 1488282"/>
              <a:gd name="connsiteY5" fmla="*/ 1690688 h 2195514"/>
              <a:gd name="connsiteX6" fmla="*/ 1252537 w 1488282"/>
              <a:gd name="connsiteY6" fmla="*/ 1333501 h 2195514"/>
              <a:gd name="connsiteX7" fmla="*/ 945356 w 1488282"/>
              <a:gd name="connsiteY7" fmla="*/ 2382 h 2195514"/>
              <a:gd name="connsiteX8" fmla="*/ 283369 w 1488282"/>
              <a:gd name="connsiteY8" fmla="*/ 0 h 2195514"/>
              <a:gd name="connsiteX9" fmla="*/ 0 w 1488282"/>
              <a:gd name="connsiteY9" fmla="*/ 2195513 h 2195514"/>
              <a:gd name="connsiteX0" fmla="*/ 0 w 1781174"/>
              <a:gd name="connsiteY0" fmla="*/ 2195513 h 2195514"/>
              <a:gd name="connsiteX1" fmla="*/ 611982 w 1781174"/>
              <a:gd name="connsiteY1" fmla="*/ 2195513 h 2195514"/>
              <a:gd name="connsiteX2" fmla="*/ 723900 w 1781174"/>
              <a:gd name="connsiteY2" fmla="*/ 800100 h 2195514"/>
              <a:gd name="connsiteX3" fmla="*/ 1007270 w 1781174"/>
              <a:gd name="connsiteY3" fmla="*/ 2193132 h 2195514"/>
              <a:gd name="connsiteX4" fmla="*/ 1488282 w 1781174"/>
              <a:gd name="connsiteY4" fmla="*/ 2195514 h 2195514"/>
              <a:gd name="connsiteX5" fmla="*/ 1781174 w 1781174"/>
              <a:gd name="connsiteY5" fmla="*/ 792957 h 2195514"/>
              <a:gd name="connsiteX6" fmla="*/ 1252537 w 1781174"/>
              <a:gd name="connsiteY6" fmla="*/ 1333501 h 2195514"/>
              <a:gd name="connsiteX7" fmla="*/ 945356 w 1781174"/>
              <a:gd name="connsiteY7" fmla="*/ 2382 h 2195514"/>
              <a:gd name="connsiteX8" fmla="*/ 283369 w 1781174"/>
              <a:gd name="connsiteY8" fmla="*/ 0 h 2195514"/>
              <a:gd name="connsiteX9" fmla="*/ 0 w 1781174"/>
              <a:gd name="connsiteY9" fmla="*/ 2195513 h 2195514"/>
              <a:gd name="connsiteX0" fmla="*/ 0 w 1781174"/>
              <a:gd name="connsiteY0" fmla="*/ 2195513 h 2195514"/>
              <a:gd name="connsiteX1" fmla="*/ 611982 w 1781174"/>
              <a:gd name="connsiteY1" fmla="*/ 2195513 h 2195514"/>
              <a:gd name="connsiteX2" fmla="*/ 723900 w 1781174"/>
              <a:gd name="connsiteY2" fmla="*/ 800100 h 2195514"/>
              <a:gd name="connsiteX3" fmla="*/ 1007270 w 1781174"/>
              <a:gd name="connsiteY3" fmla="*/ 2193132 h 2195514"/>
              <a:gd name="connsiteX4" fmla="*/ 1488282 w 1781174"/>
              <a:gd name="connsiteY4" fmla="*/ 2195514 h 2195514"/>
              <a:gd name="connsiteX5" fmla="*/ 1781174 w 1781174"/>
              <a:gd name="connsiteY5" fmla="*/ 792957 h 2195514"/>
              <a:gd name="connsiteX6" fmla="*/ 1528762 w 1781174"/>
              <a:gd name="connsiteY6" fmla="*/ 1052513 h 2195514"/>
              <a:gd name="connsiteX7" fmla="*/ 1252537 w 1781174"/>
              <a:gd name="connsiteY7" fmla="*/ 1333501 h 2195514"/>
              <a:gd name="connsiteX8" fmla="*/ 945356 w 1781174"/>
              <a:gd name="connsiteY8" fmla="*/ 2382 h 2195514"/>
              <a:gd name="connsiteX9" fmla="*/ 283369 w 1781174"/>
              <a:gd name="connsiteY9" fmla="*/ 0 h 2195514"/>
              <a:gd name="connsiteX10" fmla="*/ 0 w 1781174"/>
              <a:gd name="connsiteY10" fmla="*/ 2195513 h 2195514"/>
              <a:gd name="connsiteX0" fmla="*/ 0 w 1781174"/>
              <a:gd name="connsiteY0" fmla="*/ 2197894 h 2197895"/>
              <a:gd name="connsiteX1" fmla="*/ 611982 w 1781174"/>
              <a:gd name="connsiteY1" fmla="*/ 2197894 h 2197895"/>
              <a:gd name="connsiteX2" fmla="*/ 723900 w 1781174"/>
              <a:gd name="connsiteY2" fmla="*/ 802481 h 2197895"/>
              <a:gd name="connsiteX3" fmla="*/ 1007270 w 1781174"/>
              <a:gd name="connsiteY3" fmla="*/ 2195513 h 2197895"/>
              <a:gd name="connsiteX4" fmla="*/ 1488282 w 1781174"/>
              <a:gd name="connsiteY4" fmla="*/ 2197895 h 2197895"/>
              <a:gd name="connsiteX5" fmla="*/ 1781174 w 1781174"/>
              <a:gd name="connsiteY5" fmla="*/ 795338 h 2197895"/>
              <a:gd name="connsiteX6" fmla="*/ 1559719 w 1781174"/>
              <a:gd name="connsiteY6" fmla="*/ 0 h 2197895"/>
              <a:gd name="connsiteX7" fmla="*/ 1252537 w 1781174"/>
              <a:gd name="connsiteY7" fmla="*/ 1335882 h 2197895"/>
              <a:gd name="connsiteX8" fmla="*/ 945356 w 1781174"/>
              <a:gd name="connsiteY8" fmla="*/ 4763 h 2197895"/>
              <a:gd name="connsiteX9" fmla="*/ 283369 w 1781174"/>
              <a:gd name="connsiteY9" fmla="*/ 2381 h 2197895"/>
              <a:gd name="connsiteX10" fmla="*/ 0 w 1781174"/>
              <a:gd name="connsiteY10" fmla="*/ 2197894 h 2197895"/>
              <a:gd name="connsiteX0" fmla="*/ 0 w 1781174"/>
              <a:gd name="connsiteY0" fmla="*/ 2197894 h 2197895"/>
              <a:gd name="connsiteX1" fmla="*/ 611982 w 1781174"/>
              <a:gd name="connsiteY1" fmla="*/ 2197894 h 2197895"/>
              <a:gd name="connsiteX2" fmla="*/ 723900 w 1781174"/>
              <a:gd name="connsiteY2" fmla="*/ 802481 h 2197895"/>
              <a:gd name="connsiteX3" fmla="*/ 1007270 w 1781174"/>
              <a:gd name="connsiteY3" fmla="*/ 2195513 h 2197895"/>
              <a:gd name="connsiteX4" fmla="*/ 1488282 w 1781174"/>
              <a:gd name="connsiteY4" fmla="*/ 2197895 h 2197895"/>
              <a:gd name="connsiteX5" fmla="*/ 1781174 w 1781174"/>
              <a:gd name="connsiteY5" fmla="*/ 795338 h 2197895"/>
              <a:gd name="connsiteX6" fmla="*/ 1688306 w 1781174"/>
              <a:gd name="connsiteY6" fmla="*/ 454820 h 2197895"/>
              <a:gd name="connsiteX7" fmla="*/ 1559719 w 1781174"/>
              <a:gd name="connsiteY7" fmla="*/ 0 h 2197895"/>
              <a:gd name="connsiteX8" fmla="*/ 1252537 w 1781174"/>
              <a:gd name="connsiteY8" fmla="*/ 1335882 h 2197895"/>
              <a:gd name="connsiteX9" fmla="*/ 945356 w 1781174"/>
              <a:gd name="connsiteY9" fmla="*/ 4763 h 2197895"/>
              <a:gd name="connsiteX10" fmla="*/ 283369 w 1781174"/>
              <a:gd name="connsiteY10" fmla="*/ 2381 h 2197895"/>
              <a:gd name="connsiteX11" fmla="*/ 0 w 1781174"/>
              <a:gd name="connsiteY11" fmla="*/ 2197894 h 2197895"/>
              <a:gd name="connsiteX0" fmla="*/ 0 w 2212181"/>
              <a:gd name="connsiteY0" fmla="*/ 2197894 h 2197895"/>
              <a:gd name="connsiteX1" fmla="*/ 611982 w 2212181"/>
              <a:gd name="connsiteY1" fmla="*/ 2197894 h 2197895"/>
              <a:gd name="connsiteX2" fmla="*/ 723900 w 2212181"/>
              <a:gd name="connsiteY2" fmla="*/ 802481 h 2197895"/>
              <a:gd name="connsiteX3" fmla="*/ 1007270 w 2212181"/>
              <a:gd name="connsiteY3" fmla="*/ 2195513 h 2197895"/>
              <a:gd name="connsiteX4" fmla="*/ 1488282 w 2212181"/>
              <a:gd name="connsiteY4" fmla="*/ 2197895 h 2197895"/>
              <a:gd name="connsiteX5" fmla="*/ 1781174 w 2212181"/>
              <a:gd name="connsiteY5" fmla="*/ 795338 h 2197895"/>
              <a:gd name="connsiteX6" fmla="*/ 2212181 w 2212181"/>
              <a:gd name="connsiteY6" fmla="*/ 7145 h 2197895"/>
              <a:gd name="connsiteX7" fmla="*/ 1559719 w 2212181"/>
              <a:gd name="connsiteY7" fmla="*/ 0 h 2197895"/>
              <a:gd name="connsiteX8" fmla="*/ 1252537 w 2212181"/>
              <a:gd name="connsiteY8" fmla="*/ 1335882 h 2197895"/>
              <a:gd name="connsiteX9" fmla="*/ 945356 w 2212181"/>
              <a:gd name="connsiteY9" fmla="*/ 4763 h 2197895"/>
              <a:gd name="connsiteX10" fmla="*/ 283369 w 2212181"/>
              <a:gd name="connsiteY10" fmla="*/ 2381 h 2197895"/>
              <a:gd name="connsiteX11" fmla="*/ 0 w 2212181"/>
              <a:gd name="connsiteY11" fmla="*/ 2197894 h 2197895"/>
              <a:gd name="connsiteX0" fmla="*/ 0 w 2212181"/>
              <a:gd name="connsiteY0" fmla="*/ 2197894 h 2197895"/>
              <a:gd name="connsiteX1" fmla="*/ 611982 w 2212181"/>
              <a:gd name="connsiteY1" fmla="*/ 2197894 h 2197895"/>
              <a:gd name="connsiteX2" fmla="*/ 723900 w 2212181"/>
              <a:gd name="connsiteY2" fmla="*/ 802481 h 2197895"/>
              <a:gd name="connsiteX3" fmla="*/ 1007270 w 2212181"/>
              <a:gd name="connsiteY3" fmla="*/ 2195513 h 2197895"/>
              <a:gd name="connsiteX4" fmla="*/ 1488282 w 2212181"/>
              <a:gd name="connsiteY4" fmla="*/ 2197895 h 2197895"/>
              <a:gd name="connsiteX5" fmla="*/ 1781174 w 2212181"/>
              <a:gd name="connsiteY5" fmla="*/ 795338 h 2197895"/>
              <a:gd name="connsiteX6" fmla="*/ 2035968 w 2212181"/>
              <a:gd name="connsiteY6" fmla="*/ 328614 h 2197895"/>
              <a:gd name="connsiteX7" fmla="*/ 2212181 w 2212181"/>
              <a:gd name="connsiteY7" fmla="*/ 7145 h 2197895"/>
              <a:gd name="connsiteX8" fmla="*/ 1559719 w 2212181"/>
              <a:gd name="connsiteY8" fmla="*/ 0 h 2197895"/>
              <a:gd name="connsiteX9" fmla="*/ 1252537 w 2212181"/>
              <a:gd name="connsiteY9" fmla="*/ 1335882 h 2197895"/>
              <a:gd name="connsiteX10" fmla="*/ 945356 w 2212181"/>
              <a:gd name="connsiteY10" fmla="*/ 4763 h 2197895"/>
              <a:gd name="connsiteX11" fmla="*/ 283369 w 2212181"/>
              <a:gd name="connsiteY11" fmla="*/ 2381 h 2197895"/>
              <a:gd name="connsiteX12" fmla="*/ 0 w 2212181"/>
              <a:gd name="connsiteY12" fmla="*/ 2197894 h 2197895"/>
              <a:gd name="connsiteX0" fmla="*/ 0 w 2500312"/>
              <a:gd name="connsiteY0" fmla="*/ 2197894 h 2197895"/>
              <a:gd name="connsiteX1" fmla="*/ 611982 w 2500312"/>
              <a:gd name="connsiteY1" fmla="*/ 2197894 h 2197895"/>
              <a:gd name="connsiteX2" fmla="*/ 723900 w 2500312"/>
              <a:gd name="connsiteY2" fmla="*/ 802481 h 2197895"/>
              <a:gd name="connsiteX3" fmla="*/ 1007270 w 2500312"/>
              <a:gd name="connsiteY3" fmla="*/ 2195513 h 2197895"/>
              <a:gd name="connsiteX4" fmla="*/ 1488282 w 2500312"/>
              <a:gd name="connsiteY4" fmla="*/ 2197895 h 2197895"/>
              <a:gd name="connsiteX5" fmla="*/ 1781174 w 2500312"/>
              <a:gd name="connsiteY5" fmla="*/ 795338 h 2197895"/>
              <a:gd name="connsiteX6" fmla="*/ 2500312 w 2500312"/>
              <a:gd name="connsiteY6" fmla="*/ 2197895 h 2197895"/>
              <a:gd name="connsiteX7" fmla="*/ 2212181 w 2500312"/>
              <a:gd name="connsiteY7" fmla="*/ 7145 h 2197895"/>
              <a:gd name="connsiteX8" fmla="*/ 1559719 w 2500312"/>
              <a:gd name="connsiteY8" fmla="*/ 0 h 2197895"/>
              <a:gd name="connsiteX9" fmla="*/ 1252537 w 2500312"/>
              <a:gd name="connsiteY9" fmla="*/ 1335882 h 2197895"/>
              <a:gd name="connsiteX10" fmla="*/ 945356 w 2500312"/>
              <a:gd name="connsiteY10" fmla="*/ 4763 h 2197895"/>
              <a:gd name="connsiteX11" fmla="*/ 283369 w 2500312"/>
              <a:gd name="connsiteY11" fmla="*/ 2381 h 2197895"/>
              <a:gd name="connsiteX12" fmla="*/ 0 w 2500312"/>
              <a:gd name="connsiteY12" fmla="*/ 2197894 h 2197895"/>
              <a:gd name="connsiteX0" fmla="*/ 0 w 2500312"/>
              <a:gd name="connsiteY0" fmla="*/ 2197894 h 2197895"/>
              <a:gd name="connsiteX1" fmla="*/ 611982 w 2500312"/>
              <a:gd name="connsiteY1" fmla="*/ 2197894 h 2197895"/>
              <a:gd name="connsiteX2" fmla="*/ 723900 w 2500312"/>
              <a:gd name="connsiteY2" fmla="*/ 802481 h 2197895"/>
              <a:gd name="connsiteX3" fmla="*/ 1007270 w 2500312"/>
              <a:gd name="connsiteY3" fmla="*/ 2195513 h 2197895"/>
              <a:gd name="connsiteX4" fmla="*/ 1488282 w 2500312"/>
              <a:gd name="connsiteY4" fmla="*/ 2197895 h 2197895"/>
              <a:gd name="connsiteX5" fmla="*/ 1781174 w 2500312"/>
              <a:gd name="connsiteY5" fmla="*/ 795338 h 2197895"/>
              <a:gd name="connsiteX6" fmla="*/ 2190748 w 2500312"/>
              <a:gd name="connsiteY6" fmla="*/ 1595439 h 2197895"/>
              <a:gd name="connsiteX7" fmla="*/ 2500312 w 2500312"/>
              <a:gd name="connsiteY7" fmla="*/ 2197895 h 2197895"/>
              <a:gd name="connsiteX8" fmla="*/ 2212181 w 2500312"/>
              <a:gd name="connsiteY8" fmla="*/ 7145 h 2197895"/>
              <a:gd name="connsiteX9" fmla="*/ 1559719 w 2500312"/>
              <a:gd name="connsiteY9" fmla="*/ 0 h 2197895"/>
              <a:gd name="connsiteX10" fmla="*/ 1252537 w 2500312"/>
              <a:gd name="connsiteY10" fmla="*/ 1335882 h 2197895"/>
              <a:gd name="connsiteX11" fmla="*/ 945356 w 2500312"/>
              <a:gd name="connsiteY11" fmla="*/ 4763 h 2197895"/>
              <a:gd name="connsiteX12" fmla="*/ 283369 w 2500312"/>
              <a:gd name="connsiteY12" fmla="*/ 2381 h 2197895"/>
              <a:gd name="connsiteX13" fmla="*/ 0 w 2500312"/>
              <a:gd name="connsiteY13" fmla="*/ 2197894 h 2197895"/>
              <a:gd name="connsiteX0" fmla="*/ 0 w 2500312"/>
              <a:gd name="connsiteY0" fmla="*/ 2197894 h 2197895"/>
              <a:gd name="connsiteX1" fmla="*/ 611982 w 2500312"/>
              <a:gd name="connsiteY1" fmla="*/ 2197894 h 2197895"/>
              <a:gd name="connsiteX2" fmla="*/ 723900 w 2500312"/>
              <a:gd name="connsiteY2" fmla="*/ 802481 h 2197895"/>
              <a:gd name="connsiteX3" fmla="*/ 1007270 w 2500312"/>
              <a:gd name="connsiteY3" fmla="*/ 2195513 h 2197895"/>
              <a:gd name="connsiteX4" fmla="*/ 1488282 w 2500312"/>
              <a:gd name="connsiteY4" fmla="*/ 2197895 h 2197895"/>
              <a:gd name="connsiteX5" fmla="*/ 1781174 w 2500312"/>
              <a:gd name="connsiteY5" fmla="*/ 795338 h 2197895"/>
              <a:gd name="connsiteX6" fmla="*/ 1883567 w 2500312"/>
              <a:gd name="connsiteY6" fmla="*/ 2195514 h 2197895"/>
              <a:gd name="connsiteX7" fmla="*/ 2500312 w 2500312"/>
              <a:gd name="connsiteY7" fmla="*/ 2197895 h 2197895"/>
              <a:gd name="connsiteX8" fmla="*/ 2212181 w 2500312"/>
              <a:gd name="connsiteY8" fmla="*/ 7145 h 2197895"/>
              <a:gd name="connsiteX9" fmla="*/ 1559719 w 2500312"/>
              <a:gd name="connsiteY9" fmla="*/ 0 h 2197895"/>
              <a:gd name="connsiteX10" fmla="*/ 1252537 w 2500312"/>
              <a:gd name="connsiteY10" fmla="*/ 1335882 h 2197895"/>
              <a:gd name="connsiteX11" fmla="*/ 945356 w 2500312"/>
              <a:gd name="connsiteY11" fmla="*/ 4763 h 2197895"/>
              <a:gd name="connsiteX12" fmla="*/ 283369 w 2500312"/>
              <a:gd name="connsiteY12" fmla="*/ 2381 h 2197895"/>
              <a:gd name="connsiteX13" fmla="*/ 0 w 2500312"/>
              <a:gd name="connsiteY13" fmla="*/ 2197894 h 2197895"/>
              <a:gd name="connsiteX0" fmla="*/ 0 w 2500312"/>
              <a:gd name="connsiteY0" fmla="*/ 2197894 h 2197895"/>
              <a:gd name="connsiteX1" fmla="*/ 611982 w 2500312"/>
              <a:gd name="connsiteY1" fmla="*/ 2197894 h 2197895"/>
              <a:gd name="connsiteX2" fmla="*/ 723900 w 2500312"/>
              <a:gd name="connsiteY2" fmla="*/ 802481 h 2197895"/>
              <a:gd name="connsiteX3" fmla="*/ 1007270 w 2500312"/>
              <a:gd name="connsiteY3" fmla="*/ 2195513 h 2197895"/>
              <a:gd name="connsiteX4" fmla="*/ 1488282 w 2500312"/>
              <a:gd name="connsiteY4" fmla="*/ 2197895 h 2197895"/>
              <a:gd name="connsiteX5" fmla="*/ 1776411 w 2500312"/>
              <a:gd name="connsiteY5" fmla="*/ 809626 h 2197895"/>
              <a:gd name="connsiteX6" fmla="*/ 1883567 w 2500312"/>
              <a:gd name="connsiteY6" fmla="*/ 2195514 h 2197895"/>
              <a:gd name="connsiteX7" fmla="*/ 2500312 w 2500312"/>
              <a:gd name="connsiteY7" fmla="*/ 2197895 h 2197895"/>
              <a:gd name="connsiteX8" fmla="*/ 2212181 w 2500312"/>
              <a:gd name="connsiteY8" fmla="*/ 7145 h 2197895"/>
              <a:gd name="connsiteX9" fmla="*/ 1559719 w 2500312"/>
              <a:gd name="connsiteY9" fmla="*/ 0 h 2197895"/>
              <a:gd name="connsiteX10" fmla="*/ 1252537 w 2500312"/>
              <a:gd name="connsiteY10" fmla="*/ 1335882 h 2197895"/>
              <a:gd name="connsiteX11" fmla="*/ 945356 w 2500312"/>
              <a:gd name="connsiteY11" fmla="*/ 4763 h 2197895"/>
              <a:gd name="connsiteX12" fmla="*/ 283369 w 2500312"/>
              <a:gd name="connsiteY12" fmla="*/ 2381 h 2197895"/>
              <a:gd name="connsiteX13" fmla="*/ 0 w 2500312"/>
              <a:gd name="connsiteY13" fmla="*/ 2197894 h 2197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500312" h="2197895">
                <a:moveTo>
                  <a:pt x="0" y="2197894"/>
                </a:moveTo>
                <a:lnTo>
                  <a:pt x="611982" y="2197894"/>
                </a:lnTo>
                <a:lnTo>
                  <a:pt x="723900" y="802481"/>
                </a:lnTo>
                <a:lnTo>
                  <a:pt x="1007270" y="2195513"/>
                </a:lnTo>
                <a:lnTo>
                  <a:pt x="1488282" y="2197895"/>
                </a:lnTo>
                <a:lnTo>
                  <a:pt x="1776411" y="809626"/>
                </a:lnTo>
                <a:lnTo>
                  <a:pt x="1883567" y="2195514"/>
                </a:lnTo>
                <a:lnTo>
                  <a:pt x="2500312" y="2197895"/>
                </a:lnTo>
                <a:lnTo>
                  <a:pt x="2212181" y="7145"/>
                </a:lnTo>
                <a:lnTo>
                  <a:pt x="1559719" y="0"/>
                </a:lnTo>
                <a:lnTo>
                  <a:pt x="1252537" y="1335882"/>
                </a:lnTo>
                <a:lnTo>
                  <a:pt x="945356" y="4763"/>
                </a:lnTo>
                <a:lnTo>
                  <a:pt x="283369" y="2381"/>
                </a:lnTo>
                <a:lnTo>
                  <a:pt x="0" y="2197894"/>
                </a:lnTo>
                <a:close/>
              </a:path>
            </a:pathLst>
          </a:custGeom>
          <a:solidFill>
            <a:srgbClr val="0F238C"/>
          </a:solidFill>
          <a:ln w="190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noProof="0">
              <a:solidFill>
                <a:schemeClr val="accent1"/>
              </a:solidFill>
            </a:endParaRPr>
          </a:p>
        </p:txBody>
      </p:sp>
      <p:sp>
        <p:nvSpPr>
          <p:cNvPr id="20" name="Freeform 29"/>
          <p:cNvSpPr/>
          <p:nvPr userDrawn="1"/>
        </p:nvSpPr>
        <p:spPr>
          <a:xfrm>
            <a:off x="8218855" y="1361983"/>
            <a:ext cx="285565" cy="445289"/>
          </a:xfrm>
          <a:custGeom>
            <a:avLst/>
            <a:gdLst>
              <a:gd name="connsiteX0" fmla="*/ 0 w 1428750"/>
              <a:gd name="connsiteY0" fmla="*/ 997744 h 997744"/>
              <a:gd name="connsiteX1" fmla="*/ 1404937 w 1428750"/>
              <a:gd name="connsiteY1" fmla="*/ 997744 h 997744"/>
              <a:gd name="connsiteX2" fmla="*/ 1404937 w 1428750"/>
              <a:gd name="connsiteY2" fmla="*/ 538163 h 997744"/>
              <a:gd name="connsiteX3" fmla="*/ 1428750 w 1428750"/>
              <a:gd name="connsiteY3" fmla="*/ 540544 h 997744"/>
              <a:gd name="connsiteX4" fmla="*/ 590550 w 1428750"/>
              <a:gd name="connsiteY4" fmla="*/ 540544 h 997744"/>
              <a:gd name="connsiteX5" fmla="*/ 590550 w 1428750"/>
              <a:gd name="connsiteY5" fmla="*/ 0 h 997744"/>
              <a:gd name="connsiteX6" fmla="*/ 0 w 1428750"/>
              <a:gd name="connsiteY6" fmla="*/ 0 h 997744"/>
              <a:gd name="connsiteX7" fmla="*/ 0 w 1428750"/>
              <a:gd name="connsiteY7" fmla="*/ 997744 h 997744"/>
              <a:gd name="connsiteX0" fmla="*/ 0 w 1404937"/>
              <a:gd name="connsiteY0" fmla="*/ 997744 h 997744"/>
              <a:gd name="connsiteX1" fmla="*/ 1404937 w 1404937"/>
              <a:gd name="connsiteY1" fmla="*/ 997744 h 997744"/>
              <a:gd name="connsiteX2" fmla="*/ 1404937 w 1404937"/>
              <a:gd name="connsiteY2" fmla="*/ 538163 h 997744"/>
              <a:gd name="connsiteX3" fmla="*/ 1219200 w 1404937"/>
              <a:gd name="connsiteY3" fmla="*/ 476250 h 997744"/>
              <a:gd name="connsiteX4" fmla="*/ 590550 w 1404937"/>
              <a:gd name="connsiteY4" fmla="*/ 540544 h 997744"/>
              <a:gd name="connsiteX5" fmla="*/ 590550 w 1404937"/>
              <a:gd name="connsiteY5" fmla="*/ 0 h 997744"/>
              <a:gd name="connsiteX6" fmla="*/ 0 w 1404937"/>
              <a:gd name="connsiteY6" fmla="*/ 0 h 997744"/>
              <a:gd name="connsiteX7" fmla="*/ 0 w 1404937"/>
              <a:gd name="connsiteY7" fmla="*/ 997744 h 997744"/>
              <a:gd name="connsiteX0" fmla="*/ 0 w 1404937"/>
              <a:gd name="connsiteY0" fmla="*/ 997744 h 997744"/>
              <a:gd name="connsiteX1" fmla="*/ 1404937 w 1404937"/>
              <a:gd name="connsiteY1" fmla="*/ 997744 h 997744"/>
              <a:gd name="connsiteX2" fmla="*/ 1404937 w 1404937"/>
              <a:gd name="connsiteY2" fmla="*/ 538163 h 997744"/>
              <a:gd name="connsiteX3" fmla="*/ 590550 w 1404937"/>
              <a:gd name="connsiteY3" fmla="*/ 540544 h 997744"/>
              <a:gd name="connsiteX4" fmla="*/ 590550 w 1404937"/>
              <a:gd name="connsiteY4" fmla="*/ 0 h 997744"/>
              <a:gd name="connsiteX5" fmla="*/ 0 w 1404937"/>
              <a:gd name="connsiteY5" fmla="*/ 0 h 997744"/>
              <a:gd name="connsiteX6" fmla="*/ 0 w 1404937"/>
              <a:gd name="connsiteY6" fmla="*/ 997744 h 997744"/>
              <a:gd name="connsiteX0" fmla="*/ 0 w 1404937"/>
              <a:gd name="connsiteY0" fmla="*/ 1614488 h 1614488"/>
              <a:gd name="connsiteX1" fmla="*/ 1404937 w 1404937"/>
              <a:gd name="connsiteY1" fmla="*/ 1614488 h 1614488"/>
              <a:gd name="connsiteX2" fmla="*/ 1404937 w 1404937"/>
              <a:gd name="connsiteY2" fmla="*/ 1154907 h 1614488"/>
              <a:gd name="connsiteX3" fmla="*/ 590550 w 1404937"/>
              <a:gd name="connsiteY3" fmla="*/ 1157288 h 1614488"/>
              <a:gd name="connsiteX4" fmla="*/ 592931 w 1404937"/>
              <a:gd name="connsiteY4" fmla="*/ 0 h 1614488"/>
              <a:gd name="connsiteX5" fmla="*/ 0 w 1404937"/>
              <a:gd name="connsiteY5" fmla="*/ 616744 h 1614488"/>
              <a:gd name="connsiteX6" fmla="*/ 0 w 1404937"/>
              <a:gd name="connsiteY6" fmla="*/ 1614488 h 1614488"/>
              <a:gd name="connsiteX0" fmla="*/ 0 w 1404937"/>
              <a:gd name="connsiteY0" fmla="*/ 2188369 h 2188369"/>
              <a:gd name="connsiteX1" fmla="*/ 1404937 w 1404937"/>
              <a:gd name="connsiteY1" fmla="*/ 2188369 h 2188369"/>
              <a:gd name="connsiteX2" fmla="*/ 1404937 w 1404937"/>
              <a:gd name="connsiteY2" fmla="*/ 1728788 h 2188369"/>
              <a:gd name="connsiteX3" fmla="*/ 590550 w 1404937"/>
              <a:gd name="connsiteY3" fmla="*/ 1731169 h 2188369"/>
              <a:gd name="connsiteX4" fmla="*/ 592931 w 1404937"/>
              <a:gd name="connsiteY4" fmla="*/ 573881 h 2188369"/>
              <a:gd name="connsiteX5" fmla="*/ 2382 w 1404937"/>
              <a:gd name="connsiteY5" fmla="*/ 0 h 2188369"/>
              <a:gd name="connsiteX6" fmla="*/ 0 w 1404937"/>
              <a:gd name="connsiteY6" fmla="*/ 2188369 h 2188369"/>
              <a:gd name="connsiteX0" fmla="*/ 0 w 1404937"/>
              <a:gd name="connsiteY0" fmla="*/ 2190750 h 2190750"/>
              <a:gd name="connsiteX1" fmla="*/ 1404937 w 1404937"/>
              <a:gd name="connsiteY1" fmla="*/ 2190750 h 2190750"/>
              <a:gd name="connsiteX2" fmla="*/ 1404937 w 1404937"/>
              <a:gd name="connsiteY2" fmla="*/ 1731169 h 2190750"/>
              <a:gd name="connsiteX3" fmla="*/ 590550 w 1404937"/>
              <a:gd name="connsiteY3" fmla="*/ 1733550 h 2190750"/>
              <a:gd name="connsiteX4" fmla="*/ 592931 w 1404937"/>
              <a:gd name="connsiteY4" fmla="*/ 0 h 2190750"/>
              <a:gd name="connsiteX5" fmla="*/ 2382 w 1404937"/>
              <a:gd name="connsiteY5" fmla="*/ 2381 h 2190750"/>
              <a:gd name="connsiteX6" fmla="*/ 0 w 1404937"/>
              <a:gd name="connsiteY6" fmla="*/ 2190750 h 2190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04937" h="2190750">
                <a:moveTo>
                  <a:pt x="0" y="2190750"/>
                </a:moveTo>
                <a:lnTo>
                  <a:pt x="1404937" y="2190750"/>
                </a:lnTo>
                <a:lnTo>
                  <a:pt x="1404937" y="1731169"/>
                </a:lnTo>
                <a:lnTo>
                  <a:pt x="590550" y="1733550"/>
                </a:lnTo>
                <a:cubicBezTo>
                  <a:pt x="591344" y="1347787"/>
                  <a:pt x="592137" y="385763"/>
                  <a:pt x="592931" y="0"/>
                </a:cubicBezTo>
                <a:lnTo>
                  <a:pt x="2382" y="2381"/>
                </a:lnTo>
                <a:cubicBezTo>
                  <a:pt x="3969" y="334962"/>
                  <a:pt x="3175" y="1858169"/>
                  <a:pt x="0" y="2190750"/>
                </a:cubicBezTo>
                <a:close/>
              </a:path>
            </a:pathLst>
          </a:custGeom>
          <a:solidFill>
            <a:srgbClr val="0F238C"/>
          </a:solidFill>
          <a:ln w="190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noProof="0">
              <a:solidFill>
                <a:schemeClr val="accent1"/>
              </a:solidFill>
            </a:endParaRPr>
          </a:p>
        </p:txBody>
      </p:sp>
      <p:sp>
        <p:nvSpPr>
          <p:cNvPr id="21" name="Freeform 30"/>
          <p:cNvSpPr/>
          <p:nvPr userDrawn="1"/>
        </p:nvSpPr>
        <p:spPr>
          <a:xfrm>
            <a:off x="7278612" y="1451041"/>
            <a:ext cx="330600" cy="365922"/>
          </a:xfrm>
          <a:custGeom>
            <a:avLst/>
            <a:gdLst>
              <a:gd name="connsiteX0" fmla="*/ 0 w 483394"/>
              <a:gd name="connsiteY0" fmla="*/ 0 h 645319"/>
              <a:gd name="connsiteX1" fmla="*/ 0 w 483394"/>
              <a:gd name="connsiteY1" fmla="*/ 528638 h 645319"/>
              <a:gd name="connsiteX2" fmla="*/ 33338 w 483394"/>
              <a:gd name="connsiteY2" fmla="*/ 528638 h 645319"/>
              <a:gd name="connsiteX3" fmla="*/ 381000 w 483394"/>
              <a:gd name="connsiteY3" fmla="*/ 645319 h 645319"/>
              <a:gd name="connsiteX4" fmla="*/ 483394 w 483394"/>
              <a:gd name="connsiteY4" fmla="*/ 216694 h 645319"/>
              <a:gd name="connsiteX5" fmla="*/ 0 w 483394"/>
              <a:gd name="connsiteY5" fmla="*/ 0 h 645319"/>
              <a:gd name="connsiteX0" fmla="*/ 0 w 1626394"/>
              <a:gd name="connsiteY0" fmla="*/ 0 h 528638"/>
              <a:gd name="connsiteX1" fmla="*/ 0 w 1626394"/>
              <a:gd name="connsiteY1" fmla="*/ 528638 h 528638"/>
              <a:gd name="connsiteX2" fmla="*/ 33338 w 1626394"/>
              <a:gd name="connsiteY2" fmla="*/ 528638 h 528638"/>
              <a:gd name="connsiteX3" fmla="*/ 1626394 w 1626394"/>
              <a:gd name="connsiteY3" fmla="*/ 7144 h 528638"/>
              <a:gd name="connsiteX4" fmla="*/ 483394 w 1626394"/>
              <a:gd name="connsiteY4" fmla="*/ 216694 h 528638"/>
              <a:gd name="connsiteX5" fmla="*/ 0 w 1626394"/>
              <a:gd name="connsiteY5" fmla="*/ 0 h 528638"/>
              <a:gd name="connsiteX0" fmla="*/ 0 w 1626394"/>
              <a:gd name="connsiteY0" fmla="*/ 0 h 528638"/>
              <a:gd name="connsiteX1" fmla="*/ 0 w 1626394"/>
              <a:gd name="connsiteY1" fmla="*/ 528638 h 528638"/>
              <a:gd name="connsiteX2" fmla="*/ 33338 w 1626394"/>
              <a:gd name="connsiteY2" fmla="*/ 528638 h 528638"/>
              <a:gd name="connsiteX3" fmla="*/ 1626394 w 1626394"/>
              <a:gd name="connsiteY3" fmla="*/ 7144 h 528638"/>
              <a:gd name="connsiteX4" fmla="*/ 483394 w 1626394"/>
              <a:gd name="connsiteY4" fmla="*/ 216694 h 528638"/>
              <a:gd name="connsiteX5" fmla="*/ 0 w 1626394"/>
              <a:gd name="connsiteY5" fmla="*/ 0 h 528638"/>
              <a:gd name="connsiteX0" fmla="*/ 0 w 1626394"/>
              <a:gd name="connsiteY0" fmla="*/ 0 h 714375"/>
              <a:gd name="connsiteX1" fmla="*/ 0 w 1626394"/>
              <a:gd name="connsiteY1" fmla="*/ 528638 h 714375"/>
              <a:gd name="connsiteX2" fmla="*/ 354807 w 1626394"/>
              <a:gd name="connsiteY2" fmla="*/ 714375 h 714375"/>
              <a:gd name="connsiteX3" fmla="*/ 1626394 w 1626394"/>
              <a:gd name="connsiteY3" fmla="*/ 7144 h 714375"/>
              <a:gd name="connsiteX4" fmla="*/ 483394 w 1626394"/>
              <a:gd name="connsiteY4" fmla="*/ 216694 h 714375"/>
              <a:gd name="connsiteX5" fmla="*/ 0 w 1626394"/>
              <a:gd name="connsiteY5" fmla="*/ 0 h 714375"/>
              <a:gd name="connsiteX0" fmla="*/ 0 w 1626394"/>
              <a:gd name="connsiteY0" fmla="*/ 0 h 528638"/>
              <a:gd name="connsiteX1" fmla="*/ 0 w 1626394"/>
              <a:gd name="connsiteY1" fmla="*/ 528638 h 528638"/>
              <a:gd name="connsiteX2" fmla="*/ 1626394 w 1626394"/>
              <a:gd name="connsiteY2" fmla="*/ 7144 h 528638"/>
              <a:gd name="connsiteX3" fmla="*/ 483394 w 1626394"/>
              <a:gd name="connsiteY3" fmla="*/ 216694 h 528638"/>
              <a:gd name="connsiteX4" fmla="*/ 0 w 1626394"/>
              <a:gd name="connsiteY4" fmla="*/ 0 h 528638"/>
              <a:gd name="connsiteX0" fmla="*/ 0 w 1626394"/>
              <a:gd name="connsiteY0" fmla="*/ 0 h 528638"/>
              <a:gd name="connsiteX1" fmla="*/ 0 w 1626394"/>
              <a:gd name="connsiteY1" fmla="*/ 528638 h 528638"/>
              <a:gd name="connsiteX2" fmla="*/ 1626394 w 1626394"/>
              <a:gd name="connsiteY2" fmla="*/ 7144 h 528638"/>
              <a:gd name="connsiteX3" fmla="*/ 483394 w 1626394"/>
              <a:gd name="connsiteY3" fmla="*/ 216694 h 528638"/>
              <a:gd name="connsiteX4" fmla="*/ 0 w 1626394"/>
              <a:gd name="connsiteY4" fmla="*/ 0 h 528638"/>
              <a:gd name="connsiteX0" fmla="*/ 0 w 1626394"/>
              <a:gd name="connsiteY0" fmla="*/ 0 h 681404"/>
              <a:gd name="connsiteX1" fmla="*/ 0 w 1626394"/>
              <a:gd name="connsiteY1" fmla="*/ 528638 h 681404"/>
              <a:gd name="connsiteX2" fmla="*/ 1626394 w 1626394"/>
              <a:gd name="connsiteY2" fmla="*/ 7144 h 681404"/>
              <a:gd name="connsiteX3" fmla="*/ 483394 w 1626394"/>
              <a:gd name="connsiteY3" fmla="*/ 216694 h 681404"/>
              <a:gd name="connsiteX4" fmla="*/ 0 w 1626394"/>
              <a:gd name="connsiteY4" fmla="*/ 0 h 681404"/>
              <a:gd name="connsiteX0" fmla="*/ 0 w 1626394"/>
              <a:gd name="connsiteY0" fmla="*/ 0 h 661055"/>
              <a:gd name="connsiteX1" fmla="*/ 0 w 1626394"/>
              <a:gd name="connsiteY1" fmla="*/ 528638 h 661055"/>
              <a:gd name="connsiteX2" fmla="*/ 1626394 w 1626394"/>
              <a:gd name="connsiteY2" fmla="*/ 7144 h 661055"/>
              <a:gd name="connsiteX3" fmla="*/ 483394 w 1626394"/>
              <a:gd name="connsiteY3" fmla="*/ 216694 h 661055"/>
              <a:gd name="connsiteX4" fmla="*/ 0 w 1626394"/>
              <a:gd name="connsiteY4" fmla="*/ 0 h 661055"/>
              <a:gd name="connsiteX0" fmla="*/ 0 w 1626394"/>
              <a:gd name="connsiteY0" fmla="*/ 0 h 678971"/>
              <a:gd name="connsiteX1" fmla="*/ 0 w 1626394"/>
              <a:gd name="connsiteY1" fmla="*/ 528638 h 678971"/>
              <a:gd name="connsiteX2" fmla="*/ 1626394 w 1626394"/>
              <a:gd name="connsiteY2" fmla="*/ 7144 h 678971"/>
              <a:gd name="connsiteX3" fmla="*/ 483394 w 1626394"/>
              <a:gd name="connsiteY3" fmla="*/ 216694 h 678971"/>
              <a:gd name="connsiteX4" fmla="*/ 0 w 1626394"/>
              <a:gd name="connsiteY4" fmla="*/ 0 h 678971"/>
              <a:gd name="connsiteX0" fmla="*/ 0 w 1626394"/>
              <a:gd name="connsiteY0" fmla="*/ 0 h 678971"/>
              <a:gd name="connsiteX1" fmla="*/ 0 w 1626394"/>
              <a:gd name="connsiteY1" fmla="*/ 528638 h 678971"/>
              <a:gd name="connsiteX2" fmla="*/ 1626394 w 1626394"/>
              <a:gd name="connsiteY2" fmla="*/ 7144 h 678971"/>
              <a:gd name="connsiteX3" fmla="*/ 621506 w 1626394"/>
              <a:gd name="connsiteY3" fmla="*/ 233363 h 678971"/>
              <a:gd name="connsiteX4" fmla="*/ 0 w 1626394"/>
              <a:gd name="connsiteY4" fmla="*/ 0 h 678971"/>
              <a:gd name="connsiteX0" fmla="*/ 0 w 1626394"/>
              <a:gd name="connsiteY0" fmla="*/ 4860 h 683831"/>
              <a:gd name="connsiteX1" fmla="*/ 0 w 1626394"/>
              <a:gd name="connsiteY1" fmla="*/ 533498 h 683831"/>
              <a:gd name="connsiteX2" fmla="*/ 1626394 w 1626394"/>
              <a:gd name="connsiteY2" fmla="*/ 12004 h 683831"/>
              <a:gd name="connsiteX3" fmla="*/ 621506 w 1626394"/>
              <a:gd name="connsiteY3" fmla="*/ 238223 h 683831"/>
              <a:gd name="connsiteX4" fmla="*/ 0 w 1626394"/>
              <a:gd name="connsiteY4" fmla="*/ 4860 h 683831"/>
              <a:gd name="connsiteX0" fmla="*/ 0 w 1626394"/>
              <a:gd name="connsiteY0" fmla="*/ 4860 h 683831"/>
              <a:gd name="connsiteX1" fmla="*/ 0 w 1626394"/>
              <a:gd name="connsiteY1" fmla="*/ 533498 h 683831"/>
              <a:gd name="connsiteX2" fmla="*/ 1626394 w 1626394"/>
              <a:gd name="connsiteY2" fmla="*/ 12004 h 683831"/>
              <a:gd name="connsiteX3" fmla="*/ 1066800 w 1626394"/>
              <a:gd name="connsiteY3" fmla="*/ 135830 h 683831"/>
              <a:gd name="connsiteX4" fmla="*/ 621506 w 1626394"/>
              <a:gd name="connsiteY4" fmla="*/ 238223 h 683831"/>
              <a:gd name="connsiteX5" fmla="*/ 0 w 1626394"/>
              <a:gd name="connsiteY5" fmla="*/ 4860 h 683831"/>
              <a:gd name="connsiteX0" fmla="*/ 0 w 1626394"/>
              <a:gd name="connsiteY0" fmla="*/ 111917 h 790888"/>
              <a:gd name="connsiteX1" fmla="*/ 0 w 1626394"/>
              <a:gd name="connsiteY1" fmla="*/ 640555 h 790888"/>
              <a:gd name="connsiteX2" fmla="*/ 1626394 w 1626394"/>
              <a:gd name="connsiteY2" fmla="*/ 119061 h 790888"/>
              <a:gd name="connsiteX3" fmla="*/ 923925 w 1626394"/>
              <a:gd name="connsiteY3" fmla="*/ 0 h 790888"/>
              <a:gd name="connsiteX4" fmla="*/ 621506 w 1626394"/>
              <a:gd name="connsiteY4" fmla="*/ 345280 h 790888"/>
              <a:gd name="connsiteX5" fmla="*/ 0 w 1626394"/>
              <a:gd name="connsiteY5" fmla="*/ 111917 h 790888"/>
              <a:gd name="connsiteX0" fmla="*/ 0 w 1626394"/>
              <a:gd name="connsiteY0" fmla="*/ 111917 h 790888"/>
              <a:gd name="connsiteX1" fmla="*/ 0 w 1626394"/>
              <a:gd name="connsiteY1" fmla="*/ 640555 h 790888"/>
              <a:gd name="connsiteX2" fmla="*/ 1626394 w 1626394"/>
              <a:gd name="connsiteY2" fmla="*/ 119061 h 790888"/>
              <a:gd name="connsiteX3" fmla="*/ 1059656 w 1626394"/>
              <a:gd name="connsiteY3" fmla="*/ 23812 h 790888"/>
              <a:gd name="connsiteX4" fmla="*/ 923925 w 1626394"/>
              <a:gd name="connsiteY4" fmla="*/ 0 h 790888"/>
              <a:gd name="connsiteX5" fmla="*/ 621506 w 1626394"/>
              <a:gd name="connsiteY5" fmla="*/ 345280 h 790888"/>
              <a:gd name="connsiteX6" fmla="*/ 0 w 1626394"/>
              <a:gd name="connsiteY6" fmla="*/ 111917 h 790888"/>
              <a:gd name="connsiteX0" fmla="*/ 0 w 1626394"/>
              <a:gd name="connsiteY0" fmla="*/ 538161 h 1217132"/>
              <a:gd name="connsiteX1" fmla="*/ 0 w 1626394"/>
              <a:gd name="connsiteY1" fmla="*/ 1066799 h 1217132"/>
              <a:gd name="connsiteX2" fmla="*/ 1626394 w 1626394"/>
              <a:gd name="connsiteY2" fmla="*/ 545305 h 1217132"/>
              <a:gd name="connsiteX3" fmla="*/ 1323974 w 1626394"/>
              <a:gd name="connsiteY3" fmla="*/ 0 h 1217132"/>
              <a:gd name="connsiteX4" fmla="*/ 923925 w 1626394"/>
              <a:gd name="connsiteY4" fmla="*/ 426244 h 1217132"/>
              <a:gd name="connsiteX5" fmla="*/ 621506 w 1626394"/>
              <a:gd name="connsiteY5" fmla="*/ 771524 h 1217132"/>
              <a:gd name="connsiteX6" fmla="*/ 0 w 1626394"/>
              <a:gd name="connsiteY6" fmla="*/ 538161 h 1217132"/>
              <a:gd name="connsiteX0" fmla="*/ 0 w 1626394"/>
              <a:gd name="connsiteY0" fmla="*/ 538161 h 1217132"/>
              <a:gd name="connsiteX1" fmla="*/ 0 w 1626394"/>
              <a:gd name="connsiteY1" fmla="*/ 1066799 h 1217132"/>
              <a:gd name="connsiteX2" fmla="*/ 1626394 w 1626394"/>
              <a:gd name="connsiteY2" fmla="*/ 545305 h 1217132"/>
              <a:gd name="connsiteX3" fmla="*/ 1323974 w 1626394"/>
              <a:gd name="connsiteY3" fmla="*/ 0 h 1217132"/>
              <a:gd name="connsiteX4" fmla="*/ 923925 w 1626394"/>
              <a:gd name="connsiteY4" fmla="*/ 426244 h 1217132"/>
              <a:gd name="connsiteX5" fmla="*/ 621506 w 1626394"/>
              <a:gd name="connsiteY5" fmla="*/ 771524 h 1217132"/>
              <a:gd name="connsiteX6" fmla="*/ 0 w 1626394"/>
              <a:gd name="connsiteY6" fmla="*/ 538161 h 1217132"/>
              <a:gd name="connsiteX0" fmla="*/ 0 w 1635310"/>
              <a:gd name="connsiteY0" fmla="*/ 538161 h 1066802"/>
              <a:gd name="connsiteX1" fmla="*/ 0 w 1635310"/>
              <a:gd name="connsiteY1" fmla="*/ 1066799 h 1066802"/>
              <a:gd name="connsiteX2" fmla="*/ 1626394 w 1635310"/>
              <a:gd name="connsiteY2" fmla="*/ 545305 h 1066802"/>
              <a:gd name="connsiteX3" fmla="*/ 1323974 w 1635310"/>
              <a:gd name="connsiteY3" fmla="*/ 0 h 1066802"/>
              <a:gd name="connsiteX4" fmla="*/ 923925 w 1635310"/>
              <a:gd name="connsiteY4" fmla="*/ 426244 h 1066802"/>
              <a:gd name="connsiteX5" fmla="*/ 621506 w 1635310"/>
              <a:gd name="connsiteY5" fmla="*/ 771524 h 1066802"/>
              <a:gd name="connsiteX6" fmla="*/ 0 w 1635310"/>
              <a:gd name="connsiteY6" fmla="*/ 538161 h 1066802"/>
              <a:gd name="connsiteX0" fmla="*/ 0 w 1632620"/>
              <a:gd name="connsiteY0" fmla="*/ 538161 h 1083110"/>
              <a:gd name="connsiteX1" fmla="*/ 0 w 1632620"/>
              <a:gd name="connsiteY1" fmla="*/ 1066799 h 1083110"/>
              <a:gd name="connsiteX2" fmla="*/ 1626394 w 1632620"/>
              <a:gd name="connsiteY2" fmla="*/ 545305 h 1083110"/>
              <a:gd name="connsiteX3" fmla="*/ 1323974 w 1632620"/>
              <a:gd name="connsiteY3" fmla="*/ 0 h 1083110"/>
              <a:gd name="connsiteX4" fmla="*/ 923925 w 1632620"/>
              <a:gd name="connsiteY4" fmla="*/ 426244 h 1083110"/>
              <a:gd name="connsiteX5" fmla="*/ 621506 w 1632620"/>
              <a:gd name="connsiteY5" fmla="*/ 771524 h 1083110"/>
              <a:gd name="connsiteX6" fmla="*/ 0 w 1632620"/>
              <a:gd name="connsiteY6" fmla="*/ 538161 h 1083110"/>
              <a:gd name="connsiteX0" fmla="*/ 0 w 1638832"/>
              <a:gd name="connsiteY0" fmla="*/ 538161 h 1079262"/>
              <a:gd name="connsiteX1" fmla="*/ 0 w 1638832"/>
              <a:gd name="connsiteY1" fmla="*/ 1066799 h 1079262"/>
              <a:gd name="connsiteX2" fmla="*/ 1626394 w 1638832"/>
              <a:gd name="connsiteY2" fmla="*/ 545305 h 1079262"/>
              <a:gd name="connsiteX3" fmla="*/ 1323974 w 1638832"/>
              <a:gd name="connsiteY3" fmla="*/ 0 h 1079262"/>
              <a:gd name="connsiteX4" fmla="*/ 923925 w 1638832"/>
              <a:gd name="connsiteY4" fmla="*/ 426244 h 1079262"/>
              <a:gd name="connsiteX5" fmla="*/ 621506 w 1638832"/>
              <a:gd name="connsiteY5" fmla="*/ 771524 h 1079262"/>
              <a:gd name="connsiteX6" fmla="*/ 0 w 1638832"/>
              <a:gd name="connsiteY6" fmla="*/ 538161 h 1079262"/>
              <a:gd name="connsiteX0" fmla="*/ 0 w 1629379"/>
              <a:gd name="connsiteY0" fmla="*/ 538161 h 1066897"/>
              <a:gd name="connsiteX1" fmla="*/ 0 w 1629379"/>
              <a:gd name="connsiteY1" fmla="*/ 1066799 h 1066897"/>
              <a:gd name="connsiteX2" fmla="*/ 1616869 w 1629379"/>
              <a:gd name="connsiteY2" fmla="*/ 409574 h 1066897"/>
              <a:gd name="connsiteX3" fmla="*/ 1323974 w 1629379"/>
              <a:gd name="connsiteY3" fmla="*/ 0 h 1066897"/>
              <a:gd name="connsiteX4" fmla="*/ 923925 w 1629379"/>
              <a:gd name="connsiteY4" fmla="*/ 426244 h 1066897"/>
              <a:gd name="connsiteX5" fmla="*/ 621506 w 1629379"/>
              <a:gd name="connsiteY5" fmla="*/ 771524 h 1066897"/>
              <a:gd name="connsiteX6" fmla="*/ 0 w 1629379"/>
              <a:gd name="connsiteY6" fmla="*/ 538161 h 1066897"/>
              <a:gd name="connsiteX0" fmla="*/ 0 w 1620913"/>
              <a:gd name="connsiteY0" fmla="*/ 538161 h 1107877"/>
              <a:gd name="connsiteX1" fmla="*/ 0 w 1620913"/>
              <a:gd name="connsiteY1" fmla="*/ 1066799 h 1107877"/>
              <a:gd name="connsiteX2" fmla="*/ 1616869 w 1620913"/>
              <a:gd name="connsiteY2" fmla="*/ 409574 h 1107877"/>
              <a:gd name="connsiteX3" fmla="*/ 1323974 w 1620913"/>
              <a:gd name="connsiteY3" fmla="*/ 0 h 1107877"/>
              <a:gd name="connsiteX4" fmla="*/ 923925 w 1620913"/>
              <a:gd name="connsiteY4" fmla="*/ 426244 h 1107877"/>
              <a:gd name="connsiteX5" fmla="*/ 621506 w 1620913"/>
              <a:gd name="connsiteY5" fmla="*/ 771524 h 1107877"/>
              <a:gd name="connsiteX6" fmla="*/ 0 w 1620913"/>
              <a:gd name="connsiteY6" fmla="*/ 538161 h 1107877"/>
              <a:gd name="connsiteX0" fmla="*/ 0 w 1620913"/>
              <a:gd name="connsiteY0" fmla="*/ 538161 h 1218265"/>
              <a:gd name="connsiteX1" fmla="*/ 0 w 1620913"/>
              <a:gd name="connsiteY1" fmla="*/ 1066799 h 1218265"/>
              <a:gd name="connsiteX2" fmla="*/ 1616869 w 1620913"/>
              <a:gd name="connsiteY2" fmla="*/ 409574 h 1218265"/>
              <a:gd name="connsiteX3" fmla="*/ 1323974 w 1620913"/>
              <a:gd name="connsiteY3" fmla="*/ 0 h 1218265"/>
              <a:gd name="connsiteX4" fmla="*/ 923925 w 1620913"/>
              <a:gd name="connsiteY4" fmla="*/ 426244 h 1218265"/>
              <a:gd name="connsiteX5" fmla="*/ 621506 w 1620913"/>
              <a:gd name="connsiteY5" fmla="*/ 771524 h 1218265"/>
              <a:gd name="connsiteX6" fmla="*/ 0 w 1620913"/>
              <a:gd name="connsiteY6" fmla="*/ 538161 h 1218265"/>
              <a:gd name="connsiteX0" fmla="*/ 0 w 1620913"/>
              <a:gd name="connsiteY0" fmla="*/ 538161 h 1066799"/>
              <a:gd name="connsiteX1" fmla="*/ 0 w 1620913"/>
              <a:gd name="connsiteY1" fmla="*/ 1066799 h 1066799"/>
              <a:gd name="connsiteX2" fmla="*/ 1616869 w 1620913"/>
              <a:gd name="connsiteY2" fmla="*/ 409574 h 1066799"/>
              <a:gd name="connsiteX3" fmla="*/ 1323974 w 1620913"/>
              <a:gd name="connsiteY3" fmla="*/ 0 h 1066799"/>
              <a:gd name="connsiteX4" fmla="*/ 923925 w 1620913"/>
              <a:gd name="connsiteY4" fmla="*/ 426244 h 1066799"/>
              <a:gd name="connsiteX5" fmla="*/ 621506 w 1620913"/>
              <a:gd name="connsiteY5" fmla="*/ 771524 h 1066799"/>
              <a:gd name="connsiteX6" fmla="*/ 0 w 1620913"/>
              <a:gd name="connsiteY6" fmla="*/ 538161 h 1066799"/>
              <a:gd name="connsiteX0" fmla="*/ 0 w 1620913"/>
              <a:gd name="connsiteY0" fmla="*/ 538161 h 1213299"/>
              <a:gd name="connsiteX1" fmla="*/ 0 w 1620913"/>
              <a:gd name="connsiteY1" fmla="*/ 1066799 h 1213299"/>
              <a:gd name="connsiteX2" fmla="*/ 1616869 w 1620913"/>
              <a:gd name="connsiteY2" fmla="*/ 409574 h 1213299"/>
              <a:gd name="connsiteX3" fmla="*/ 1323974 w 1620913"/>
              <a:gd name="connsiteY3" fmla="*/ 0 h 1213299"/>
              <a:gd name="connsiteX4" fmla="*/ 923925 w 1620913"/>
              <a:gd name="connsiteY4" fmla="*/ 426244 h 1213299"/>
              <a:gd name="connsiteX5" fmla="*/ 621506 w 1620913"/>
              <a:gd name="connsiteY5" fmla="*/ 771524 h 1213299"/>
              <a:gd name="connsiteX6" fmla="*/ 0 w 1620913"/>
              <a:gd name="connsiteY6" fmla="*/ 538161 h 121329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32881"/>
              <a:gd name="connsiteY0" fmla="*/ 538161 h 1232035"/>
              <a:gd name="connsiteX1" fmla="*/ 0 w 1632881"/>
              <a:gd name="connsiteY1" fmla="*/ 1066799 h 1232035"/>
              <a:gd name="connsiteX2" fmla="*/ 1621631 w 1632881"/>
              <a:gd name="connsiteY2" fmla="*/ 523874 h 1232035"/>
              <a:gd name="connsiteX3" fmla="*/ 1323974 w 1632881"/>
              <a:gd name="connsiteY3" fmla="*/ 0 h 1232035"/>
              <a:gd name="connsiteX4" fmla="*/ 923925 w 1632881"/>
              <a:gd name="connsiteY4" fmla="*/ 426244 h 1232035"/>
              <a:gd name="connsiteX5" fmla="*/ 621506 w 1632881"/>
              <a:gd name="connsiteY5" fmla="*/ 771524 h 1232035"/>
              <a:gd name="connsiteX6" fmla="*/ 0 w 1632881"/>
              <a:gd name="connsiteY6" fmla="*/ 538161 h 1232035"/>
              <a:gd name="connsiteX0" fmla="*/ 0 w 1622936"/>
              <a:gd name="connsiteY0" fmla="*/ 538161 h 1236750"/>
              <a:gd name="connsiteX1" fmla="*/ 0 w 1622936"/>
              <a:gd name="connsiteY1" fmla="*/ 1066799 h 1236750"/>
              <a:gd name="connsiteX2" fmla="*/ 1621631 w 1622936"/>
              <a:gd name="connsiteY2" fmla="*/ 523874 h 1236750"/>
              <a:gd name="connsiteX3" fmla="*/ 1323974 w 1622936"/>
              <a:gd name="connsiteY3" fmla="*/ 0 h 1236750"/>
              <a:gd name="connsiteX4" fmla="*/ 923925 w 1622936"/>
              <a:gd name="connsiteY4" fmla="*/ 426244 h 1236750"/>
              <a:gd name="connsiteX5" fmla="*/ 621506 w 1622936"/>
              <a:gd name="connsiteY5" fmla="*/ 771524 h 1236750"/>
              <a:gd name="connsiteX6" fmla="*/ 0 w 1622936"/>
              <a:gd name="connsiteY6" fmla="*/ 538161 h 1236750"/>
              <a:gd name="connsiteX0" fmla="*/ 0 w 1627932"/>
              <a:gd name="connsiteY0" fmla="*/ 538161 h 1227283"/>
              <a:gd name="connsiteX1" fmla="*/ 0 w 1627932"/>
              <a:gd name="connsiteY1" fmla="*/ 1066799 h 1227283"/>
              <a:gd name="connsiteX2" fmla="*/ 1621631 w 1627932"/>
              <a:gd name="connsiteY2" fmla="*/ 523874 h 1227283"/>
              <a:gd name="connsiteX3" fmla="*/ 1323974 w 1627932"/>
              <a:gd name="connsiteY3" fmla="*/ 0 h 1227283"/>
              <a:gd name="connsiteX4" fmla="*/ 923925 w 1627932"/>
              <a:gd name="connsiteY4" fmla="*/ 426244 h 1227283"/>
              <a:gd name="connsiteX5" fmla="*/ 621506 w 1627932"/>
              <a:gd name="connsiteY5" fmla="*/ 771524 h 1227283"/>
              <a:gd name="connsiteX6" fmla="*/ 0 w 1627932"/>
              <a:gd name="connsiteY6" fmla="*/ 538161 h 1227283"/>
              <a:gd name="connsiteX0" fmla="*/ 0 w 1627932"/>
              <a:gd name="connsiteY0" fmla="*/ 538161 h 1066799"/>
              <a:gd name="connsiteX1" fmla="*/ 0 w 1627932"/>
              <a:gd name="connsiteY1" fmla="*/ 1066799 h 1066799"/>
              <a:gd name="connsiteX2" fmla="*/ 1621631 w 1627932"/>
              <a:gd name="connsiteY2" fmla="*/ 523874 h 1066799"/>
              <a:gd name="connsiteX3" fmla="*/ 1323974 w 1627932"/>
              <a:gd name="connsiteY3" fmla="*/ 0 h 1066799"/>
              <a:gd name="connsiteX4" fmla="*/ 923925 w 1627932"/>
              <a:gd name="connsiteY4" fmla="*/ 426244 h 1066799"/>
              <a:gd name="connsiteX5" fmla="*/ 621506 w 1627932"/>
              <a:gd name="connsiteY5" fmla="*/ 771524 h 1066799"/>
              <a:gd name="connsiteX6" fmla="*/ 0 w 1627932"/>
              <a:gd name="connsiteY6" fmla="*/ 538161 h 1066799"/>
              <a:gd name="connsiteX0" fmla="*/ 0 w 1627647"/>
              <a:gd name="connsiteY0" fmla="*/ 538161 h 1066799"/>
              <a:gd name="connsiteX1" fmla="*/ 0 w 1627647"/>
              <a:gd name="connsiteY1" fmla="*/ 1066799 h 1066799"/>
              <a:gd name="connsiteX2" fmla="*/ 1621631 w 1627647"/>
              <a:gd name="connsiteY2" fmla="*/ 523874 h 1066799"/>
              <a:gd name="connsiteX3" fmla="*/ 1323974 w 1627647"/>
              <a:gd name="connsiteY3" fmla="*/ 0 h 1066799"/>
              <a:gd name="connsiteX4" fmla="*/ 923925 w 1627647"/>
              <a:gd name="connsiteY4" fmla="*/ 426244 h 1066799"/>
              <a:gd name="connsiteX5" fmla="*/ 621506 w 1627647"/>
              <a:gd name="connsiteY5" fmla="*/ 771524 h 1066799"/>
              <a:gd name="connsiteX6" fmla="*/ 0 w 1627647"/>
              <a:gd name="connsiteY6" fmla="*/ 538161 h 1066799"/>
              <a:gd name="connsiteX0" fmla="*/ 0 w 1627647"/>
              <a:gd name="connsiteY0" fmla="*/ 538161 h 1066799"/>
              <a:gd name="connsiteX1" fmla="*/ 0 w 1627647"/>
              <a:gd name="connsiteY1" fmla="*/ 1066799 h 1066799"/>
              <a:gd name="connsiteX2" fmla="*/ 1621631 w 1627647"/>
              <a:gd name="connsiteY2" fmla="*/ 523874 h 1066799"/>
              <a:gd name="connsiteX3" fmla="*/ 1323974 w 1627647"/>
              <a:gd name="connsiteY3" fmla="*/ 0 h 1066799"/>
              <a:gd name="connsiteX4" fmla="*/ 923925 w 1627647"/>
              <a:gd name="connsiteY4" fmla="*/ 426244 h 1066799"/>
              <a:gd name="connsiteX5" fmla="*/ 621506 w 1627647"/>
              <a:gd name="connsiteY5" fmla="*/ 771524 h 1066799"/>
              <a:gd name="connsiteX6" fmla="*/ 0 w 1627647"/>
              <a:gd name="connsiteY6" fmla="*/ 538161 h 1066799"/>
              <a:gd name="connsiteX0" fmla="*/ 0 w 1627647"/>
              <a:gd name="connsiteY0" fmla="*/ 538161 h 1134969"/>
              <a:gd name="connsiteX1" fmla="*/ 0 w 1627647"/>
              <a:gd name="connsiteY1" fmla="*/ 1066799 h 1134969"/>
              <a:gd name="connsiteX2" fmla="*/ 1621631 w 1627647"/>
              <a:gd name="connsiteY2" fmla="*/ 523874 h 1134969"/>
              <a:gd name="connsiteX3" fmla="*/ 1323974 w 1627647"/>
              <a:gd name="connsiteY3" fmla="*/ 0 h 1134969"/>
              <a:gd name="connsiteX4" fmla="*/ 923925 w 1627647"/>
              <a:gd name="connsiteY4" fmla="*/ 426244 h 1134969"/>
              <a:gd name="connsiteX5" fmla="*/ 621506 w 1627647"/>
              <a:gd name="connsiteY5" fmla="*/ 771524 h 1134969"/>
              <a:gd name="connsiteX6" fmla="*/ 0 w 1627647"/>
              <a:gd name="connsiteY6" fmla="*/ 538161 h 1134969"/>
              <a:gd name="connsiteX0" fmla="*/ 0 w 1627647"/>
              <a:gd name="connsiteY0" fmla="*/ 538161 h 1213483"/>
              <a:gd name="connsiteX1" fmla="*/ 0 w 1627647"/>
              <a:gd name="connsiteY1" fmla="*/ 1066799 h 1213483"/>
              <a:gd name="connsiteX2" fmla="*/ 1621631 w 1627647"/>
              <a:gd name="connsiteY2" fmla="*/ 523874 h 1213483"/>
              <a:gd name="connsiteX3" fmla="*/ 1323974 w 1627647"/>
              <a:gd name="connsiteY3" fmla="*/ 0 h 1213483"/>
              <a:gd name="connsiteX4" fmla="*/ 923925 w 1627647"/>
              <a:gd name="connsiteY4" fmla="*/ 426244 h 1213483"/>
              <a:gd name="connsiteX5" fmla="*/ 621506 w 1627647"/>
              <a:gd name="connsiteY5" fmla="*/ 771524 h 1213483"/>
              <a:gd name="connsiteX6" fmla="*/ 0 w 1627647"/>
              <a:gd name="connsiteY6" fmla="*/ 538161 h 1213483"/>
              <a:gd name="connsiteX0" fmla="*/ 0 w 1627647"/>
              <a:gd name="connsiteY0" fmla="*/ 538161 h 1190326"/>
              <a:gd name="connsiteX1" fmla="*/ 0 w 1627647"/>
              <a:gd name="connsiteY1" fmla="*/ 1066799 h 1190326"/>
              <a:gd name="connsiteX2" fmla="*/ 1621631 w 1627647"/>
              <a:gd name="connsiteY2" fmla="*/ 523874 h 1190326"/>
              <a:gd name="connsiteX3" fmla="*/ 1323974 w 1627647"/>
              <a:gd name="connsiteY3" fmla="*/ 0 h 1190326"/>
              <a:gd name="connsiteX4" fmla="*/ 923925 w 1627647"/>
              <a:gd name="connsiteY4" fmla="*/ 426244 h 1190326"/>
              <a:gd name="connsiteX5" fmla="*/ 621506 w 1627647"/>
              <a:gd name="connsiteY5" fmla="*/ 771524 h 1190326"/>
              <a:gd name="connsiteX6" fmla="*/ 0 w 1627647"/>
              <a:gd name="connsiteY6" fmla="*/ 538161 h 1190326"/>
              <a:gd name="connsiteX0" fmla="*/ 0 w 1627647"/>
              <a:gd name="connsiteY0" fmla="*/ 538161 h 1219698"/>
              <a:gd name="connsiteX1" fmla="*/ 0 w 1627647"/>
              <a:gd name="connsiteY1" fmla="*/ 1066799 h 1219698"/>
              <a:gd name="connsiteX2" fmla="*/ 1621631 w 1627647"/>
              <a:gd name="connsiteY2" fmla="*/ 523874 h 1219698"/>
              <a:gd name="connsiteX3" fmla="*/ 1323974 w 1627647"/>
              <a:gd name="connsiteY3" fmla="*/ 0 h 1219698"/>
              <a:gd name="connsiteX4" fmla="*/ 923925 w 1627647"/>
              <a:gd name="connsiteY4" fmla="*/ 426244 h 1219698"/>
              <a:gd name="connsiteX5" fmla="*/ 621506 w 1627647"/>
              <a:gd name="connsiteY5" fmla="*/ 771524 h 1219698"/>
              <a:gd name="connsiteX6" fmla="*/ 0 w 1627647"/>
              <a:gd name="connsiteY6" fmla="*/ 538161 h 1219698"/>
              <a:gd name="connsiteX0" fmla="*/ 0 w 1627647"/>
              <a:gd name="connsiteY0" fmla="*/ 538161 h 1232307"/>
              <a:gd name="connsiteX1" fmla="*/ 0 w 1627647"/>
              <a:gd name="connsiteY1" fmla="*/ 1066799 h 1232307"/>
              <a:gd name="connsiteX2" fmla="*/ 1621631 w 1627647"/>
              <a:gd name="connsiteY2" fmla="*/ 523874 h 1232307"/>
              <a:gd name="connsiteX3" fmla="*/ 1323974 w 1627647"/>
              <a:gd name="connsiteY3" fmla="*/ 0 h 1232307"/>
              <a:gd name="connsiteX4" fmla="*/ 923925 w 1627647"/>
              <a:gd name="connsiteY4" fmla="*/ 426244 h 1232307"/>
              <a:gd name="connsiteX5" fmla="*/ 621506 w 1627647"/>
              <a:gd name="connsiteY5" fmla="*/ 771524 h 1232307"/>
              <a:gd name="connsiteX6" fmla="*/ 0 w 1627647"/>
              <a:gd name="connsiteY6" fmla="*/ 538161 h 1232307"/>
              <a:gd name="connsiteX0" fmla="*/ 0 w 1627647"/>
              <a:gd name="connsiteY0" fmla="*/ 538161 h 1217230"/>
              <a:gd name="connsiteX1" fmla="*/ 0 w 1627647"/>
              <a:gd name="connsiteY1" fmla="*/ 1066799 h 1217230"/>
              <a:gd name="connsiteX2" fmla="*/ 1621631 w 1627647"/>
              <a:gd name="connsiteY2" fmla="*/ 523874 h 1217230"/>
              <a:gd name="connsiteX3" fmla="*/ 1323974 w 1627647"/>
              <a:gd name="connsiteY3" fmla="*/ 0 h 1217230"/>
              <a:gd name="connsiteX4" fmla="*/ 923925 w 1627647"/>
              <a:gd name="connsiteY4" fmla="*/ 426244 h 1217230"/>
              <a:gd name="connsiteX5" fmla="*/ 621506 w 1627647"/>
              <a:gd name="connsiteY5" fmla="*/ 771524 h 1217230"/>
              <a:gd name="connsiteX6" fmla="*/ 0 w 1627647"/>
              <a:gd name="connsiteY6" fmla="*/ 538161 h 1217230"/>
              <a:gd name="connsiteX0" fmla="*/ 0 w 1627647"/>
              <a:gd name="connsiteY0" fmla="*/ 538161 h 1188997"/>
              <a:gd name="connsiteX1" fmla="*/ 0 w 1627647"/>
              <a:gd name="connsiteY1" fmla="*/ 1066799 h 1188997"/>
              <a:gd name="connsiteX2" fmla="*/ 1621631 w 1627647"/>
              <a:gd name="connsiteY2" fmla="*/ 523874 h 1188997"/>
              <a:gd name="connsiteX3" fmla="*/ 1323974 w 1627647"/>
              <a:gd name="connsiteY3" fmla="*/ 0 h 1188997"/>
              <a:gd name="connsiteX4" fmla="*/ 923925 w 1627647"/>
              <a:gd name="connsiteY4" fmla="*/ 426244 h 1188997"/>
              <a:gd name="connsiteX5" fmla="*/ 621506 w 1627647"/>
              <a:gd name="connsiteY5" fmla="*/ 771524 h 1188997"/>
              <a:gd name="connsiteX6" fmla="*/ 0 w 1627647"/>
              <a:gd name="connsiteY6" fmla="*/ 538161 h 1188997"/>
              <a:gd name="connsiteX0" fmla="*/ 0 w 1627647"/>
              <a:gd name="connsiteY0" fmla="*/ 538161 h 1216261"/>
              <a:gd name="connsiteX1" fmla="*/ 0 w 1627647"/>
              <a:gd name="connsiteY1" fmla="*/ 1066799 h 1216261"/>
              <a:gd name="connsiteX2" fmla="*/ 1621631 w 1627647"/>
              <a:gd name="connsiteY2" fmla="*/ 523874 h 1216261"/>
              <a:gd name="connsiteX3" fmla="*/ 1323974 w 1627647"/>
              <a:gd name="connsiteY3" fmla="*/ 0 h 1216261"/>
              <a:gd name="connsiteX4" fmla="*/ 923925 w 1627647"/>
              <a:gd name="connsiteY4" fmla="*/ 426244 h 1216261"/>
              <a:gd name="connsiteX5" fmla="*/ 621506 w 1627647"/>
              <a:gd name="connsiteY5" fmla="*/ 771524 h 1216261"/>
              <a:gd name="connsiteX6" fmla="*/ 0 w 1627647"/>
              <a:gd name="connsiteY6" fmla="*/ 538161 h 1216261"/>
              <a:gd name="connsiteX0" fmla="*/ 0 w 1627647"/>
              <a:gd name="connsiteY0" fmla="*/ 538161 h 1206398"/>
              <a:gd name="connsiteX1" fmla="*/ 0 w 1627647"/>
              <a:gd name="connsiteY1" fmla="*/ 1066799 h 1206398"/>
              <a:gd name="connsiteX2" fmla="*/ 1621631 w 1627647"/>
              <a:gd name="connsiteY2" fmla="*/ 523874 h 1206398"/>
              <a:gd name="connsiteX3" fmla="*/ 1323974 w 1627647"/>
              <a:gd name="connsiteY3" fmla="*/ 0 h 1206398"/>
              <a:gd name="connsiteX4" fmla="*/ 923925 w 1627647"/>
              <a:gd name="connsiteY4" fmla="*/ 426244 h 1206398"/>
              <a:gd name="connsiteX5" fmla="*/ 621506 w 1627647"/>
              <a:gd name="connsiteY5" fmla="*/ 771524 h 1206398"/>
              <a:gd name="connsiteX6" fmla="*/ 0 w 1627647"/>
              <a:gd name="connsiteY6" fmla="*/ 538161 h 1206398"/>
              <a:gd name="connsiteX0" fmla="*/ 0 w 1627647"/>
              <a:gd name="connsiteY0" fmla="*/ 538161 h 1218880"/>
              <a:gd name="connsiteX1" fmla="*/ 0 w 1627647"/>
              <a:gd name="connsiteY1" fmla="*/ 1066799 h 1218880"/>
              <a:gd name="connsiteX2" fmla="*/ 1621631 w 1627647"/>
              <a:gd name="connsiteY2" fmla="*/ 523874 h 1218880"/>
              <a:gd name="connsiteX3" fmla="*/ 1323974 w 1627647"/>
              <a:gd name="connsiteY3" fmla="*/ 0 h 1218880"/>
              <a:gd name="connsiteX4" fmla="*/ 923925 w 1627647"/>
              <a:gd name="connsiteY4" fmla="*/ 426244 h 1218880"/>
              <a:gd name="connsiteX5" fmla="*/ 621506 w 1627647"/>
              <a:gd name="connsiteY5" fmla="*/ 771524 h 1218880"/>
              <a:gd name="connsiteX6" fmla="*/ 0 w 1627647"/>
              <a:gd name="connsiteY6" fmla="*/ 538161 h 1218880"/>
              <a:gd name="connsiteX0" fmla="*/ 0 w 1627647"/>
              <a:gd name="connsiteY0" fmla="*/ 538161 h 1211596"/>
              <a:gd name="connsiteX1" fmla="*/ 0 w 1627647"/>
              <a:gd name="connsiteY1" fmla="*/ 1066799 h 1211596"/>
              <a:gd name="connsiteX2" fmla="*/ 1621631 w 1627647"/>
              <a:gd name="connsiteY2" fmla="*/ 523874 h 1211596"/>
              <a:gd name="connsiteX3" fmla="*/ 1323974 w 1627647"/>
              <a:gd name="connsiteY3" fmla="*/ 0 h 1211596"/>
              <a:gd name="connsiteX4" fmla="*/ 923925 w 1627647"/>
              <a:gd name="connsiteY4" fmla="*/ 426244 h 1211596"/>
              <a:gd name="connsiteX5" fmla="*/ 621506 w 1627647"/>
              <a:gd name="connsiteY5" fmla="*/ 771524 h 1211596"/>
              <a:gd name="connsiteX6" fmla="*/ 0 w 1627647"/>
              <a:gd name="connsiteY6" fmla="*/ 538161 h 1211596"/>
              <a:gd name="connsiteX0" fmla="*/ 0 w 1627647"/>
              <a:gd name="connsiteY0" fmla="*/ 538161 h 1217962"/>
              <a:gd name="connsiteX1" fmla="*/ 0 w 1627647"/>
              <a:gd name="connsiteY1" fmla="*/ 1066799 h 1217962"/>
              <a:gd name="connsiteX2" fmla="*/ 1621631 w 1627647"/>
              <a:gd name="connsiteY2" fmla="*/ 523874 h 1217962"/>
              <a:gd name="connsiteX3" fmla="*/ 1323974 w 1627647"/>
              <a:gd name="connsiteY3" fmla="*/ 0 h 1217962"/>
              <a:gd name="connsiteX4" fmla="*/ 923925 w 1627647"/>
              <a:gd name="connsiteY4" fmla="*/ 426244 h 1217962"/>
              <a:gd name="connsiteX5" fmla="*/ 621506 w 1627647"/>
              <a:gd name="connsiteY5" fmla="*/ 771524 h 1217962"/>
              <a:gd name="connsiteX6" fmla="*/ 0 w 1627647"/>
              <a:gd name="connsiteY6" fmla="*/ 538161 h 1217962"/>
              <a:gd name="connsiteX0" fmla="*/ 0 w 1627647"/>
              <a:gd name="connsiteY0" fmla="*/ 538161 h 1218399"/>
              <a:gd name="connsiteX1" fmla="*/ 0 w 1627647"/>
              <a:gd name="connsiteY1" fmla="*/ 1066799 h 1218399"/>
              <a:gd name="connsiteX2" fmla="*/ 1621631 w 1627647"/>
              <a:gd name="connsiteY2" fmla="*/ 523874 h 1218399"/>
              <a:gd name="connsiteX3" fmla="*/ 1323974 w 1627647"/>
              <a:gd name="connsiteY3" fmla="*/ 0 h 1218399"/>
              <a:gd name="connsiteX4" fmla="*/ 923925 w 1627647"/>
              <a:gd name="connsiteY4" fmla="*/ 426244 h 1218399"/>
              <a:gd name="connsiteX5" fmla="*/ 621506 w 1627647"/>
              <a:gd name="connsiteY5" fmla="*/ 771524 h 1218399"/>
              <a:gd name="connsiteX6" fmla="*/ 0 w 1627647"/>
              <a:gd name="connsiteY6" fmla="*/ 538161 h 1218399"/>
              <a:gd name="connsiteX0" fmla="*/ 0 w 1627647"/>
              <a:gd name="connsiteY0" fmla="*/ 538161 h 1212839"/>
              <a:gd name="connsiteX1" fmla="*/ 0 w 1627647"/>
              <a:gd name="connsiteY1" fmla="*/ 1066799 h 1212839"/>
              <a:gd name="connsiteX2" fmla="*/ 1621631 w 1627647"/>
              <a:gd name="connsiteY2" fmla="*/ 523874 h 1212839"/>
              <a:gd name="connsiteX3" fmla="*/ 1323974 w 1627647"/>
              <a:gd name="connsiteY3" fmla="*/ 0 h 1212839"/>
              <a:gd name="connsiteX4" fmla="*/ 923925 w 1627647"/>
              <a:gd name="connsiteY4" fmla="*/ 426244 h 1212839"/>
              <a:gd name="connsiteX5" fmla="*/ 621506 w 1627647"/>
              <a:gd name="connsiteY5" fmla="*/ 771524 h 1212839"/>
              <a:gd name="connsiteX6" fmla="*/ 0 w 1627647"/>
              <a:gd name="connsiteY6" fmla="*/ 538161 h 1212839"/>
              <a:gd name="connsiteX0" fmla="*/ 0 w 1627647"/>
              <a:gd name="connsiteY0" fmla="*/ 538161 h 1212839"/>
              <a:gd name="connsiteX1" fmla="*/ 0 w 1627647"/>
              <a:gd name="connsiteY1" fmla="*/ 1066799 h 1212839"/>
              <a:gd name="connsiteX2" fmla="*/ 1621631 w 1627647"/>
              <a:gd name="connsiteY2" fmla="*/ 523874 h 1212839"/>
              <a:gd name="connsiteX3" fmla="*/ 1323974 w 1627647"/>
              <a:gd name="connsiteY3" fmla="*/ 0 h 1212839"/>
              <a:gd name="connsiteX4" fmla="*/ 1078707 w 1627647"/>
              <a:gd name="connsiteY4" fmla="*/ 257177 h 1212839"/>
              <a:gd name="connsiteX5" fmla="*/ 923925 w 1627647"/>
              <a:gd name="connsiteY5" fmla="*/ 426244 h 1212839"/>
              <a:gd name="connsiteX6" fmla="*/ 621506 w 1627647"/>
              <a:gd name="connsiteY6" fmla="*/ 771524 h 1212839"/>
              <a:gd name="connsiteX7" fmla="*/ 0 w 1627647"/>
              <a:gd name="connsiteY7" fmla="*/ 538161 h 1212839"/>
              <a:gd name="connsiteX0" fmla="*/ 0 w 1627647"/>
              <a:gd name="connsiteY0" fmla="*/ 538161 h 1212839"/>
              <a:gd name="connsiteX1" fmla="*/ 0 w 1627647"/>
              <a:gd name="connsiteY1" fmla="*/ 1066799 h 1212839"/>
              <a:gd name="connsiteX2" fmla="*/ 1621631 w 1627647"/>
              <a:gd name="connsiteY2" fmla="*/ 523874 h 1212839"/>
              <a:gd name="connsiteX3" fmla="*/ 1323974 w 1627647"/>
              <a:gd name="connsiteY3" fmla="*/ 0 h 1212839"/>
              <a:gd name="connsiteX4" fmla="*/ 595313 w 1627647"/>
              <a:gd name="connsiteY4" fmla="*/ 185739 h 1212839"/>
              <a:gd name="connsiteX5" fmla="*/ 923925 w 1627647"/>
              <a:gd name="connsiteY5" fmla="*/ 426244 h 1212839"/>
              <a:gd name="connsiteX6" fmla="*/ 621506 w 1627647"/>
              <a:gd name="connsiteY6" fmla="*/ 771524 h 1212839"/>
              <a:gd name="connsiteX7" fmla="*/ 0 w 1627647"/>
              <a:gd name="connsiteY7" fmla="*/ 538161 h 1212839"/>
              <a:gd name="connsiteX0" fmla="*/ 0 w 1627647"/>
              <a:gd name="connsiteY0" fmla="*/ 538161 h 1212839"/>
              <a:gd name="connsiteX1" fmla="*/ 0 w 1627647"/>
              <a:gd name="connsiteY1" fmla="*/ 1066799 h 1212839"/>
              <a:gd name="connsiteX2" fmla="*/ 1621631 w 1627647"/>
              <a:gd name="connsiteY2" fmla="*/ 523874 h 1212839"/>
              <a:gd name="connsiteX3" fmla="*/ 1323974 w 1627647"/>
              <a:gd name="connsiteY3" fmla="*/ 0 h 1212839"/>
              <a:gd name="connsiteX4" fmla="*/ 973932 w 1627647"/>
              <a:gd name="connsiteY4" fmla="*/ 85727 h 1212839"/>
              <a:gd name="connsiteX5" fmla="*/ 595313 w 1627647"/>
              <a:gd name="connsiteY5" fmla="*/ 185739 h 1212839"/>
              <a:gd name="connsiteX6" fmla="*/ 923925 w 1627647"/>
              <a:gd name="connsiteY6" fmla="*/ 426244 h 1212839"/>
              <a:gd name="connsiteX7" fmla="*/ 621506 w 1627647"/>
              <a:gd name="connsiteY7" fmla="*/ 771524 h 1212839"/>
              <a:gd name="connsiteX8" fmla="*/ 0 w 1627647"/>
              <a:gd name="connsiteY8" fmla="*/ 538161 h 1212839"/>
              <a:gd name="connsiteX0" fmla="*/ 0 w 1627647"/>
              <a:gd name="connsiteY0" fmla="*/ 745328 h 1420006"/>
              <a:gd name="connsiteX1" fmla="*/ 0 w 1627647"/>
              <a:gd name="connsiteY1" fmla="*/ 1273966 h 1420006"/>
              <a:gd name="connsiteX2" fmla="*/ 1621631 w 1627647"/>
              <a:gd name="connsiteY2" fmla="*/ 731041 h 1420006"/>
              <a:gd name="connsiteX3" fmla="*/ 1323974 w 1627647"/>
              <a:gd name="connsiteY3" fmla="*/ 207167 h 1420006"/>
              <a:gd name="connsiteX4" fmla="*/ 835820 w 1627647"/>
              <a:gd name="connsiteY4" fmla="*/ 0 h 1420006"/>
              <a:gd name="connsiteX5" fmla="*/ 595313 w 1627647"/>
              <a:gd name="connsiteY5" fmla="*/ 392906 h 1420006"/>
              <a:gd name="connsiteX6" fmla="*/ 923925 w 1627647"/>
              <a:gd name="connsiteY6" fmla="*/ 633411 h 1420006"/>
              <a:gd name="connsiteX7" fmla="*/ 621506 w 1627647"/>
              <a:gd name="connsiteY7" fmla="*/ 978691 h 1420006"/>
              <a:gd name="connsiteX8" fmla="*/ 0 w 1627647"/>
              <a:gd name="connsiteY8" fmla="*/ 745328 h 1420006"/>
              <a:gd name="connsiteX0" fmla="*/ 0 w 1591281"/>
              <a:gd name="connsiteY0" fmla="*/ 745328 h 1469663"/>
              <a:gd name="connsiteX1" fmla="*/ 0 w 1591281"/>
              <a:gd name="connsiteY1" fmla="*/ 1273966 h 1469663"/>
              <a:gd name="connsiteX2" fmla="*/ 1574006 w 1591281"/>
              <a:gd name="connsiteY2" fmla="*/ 928685 h 1469663"/>
              <a:gd name="connsiteX3" fmla="*/ 1323974 w 1591281"/>
              <a:gd name="connsiteY3" fmla="*/ 207167 h 1469663"/>
              <a:gd name="connsiteX4" fmla="*/ 835820 w 1591281"/>
              <a:gd name="connsiteY4" fmla="*/ 0 h 1469663"/>
              <a:gd name="connsiteX5" fmla="*/ 595313 w 1591281"/>
              <a:gd name="connsiteY5" fmla="*/ 392906 h 1469663"/>
              <a:gd name="connsiteX6" fmla="*/ 923925 w 1591281"/>
              <a:gd name="connsiteY6" fmla="*/ 633411 h 1469663"/>
              <a:gd name="connsiteX7" fmla="*/ 621506 w 1591281"/>
              <a:gd name="connsiteY7" fmla="*/ 978691 h 1469663"/>
              <a:gd name="connsiteX8" fmla="*/ 0 w 1591281"/>
              <a:gd name="connsiteY8" fmla="*/ 745328 h 1469663"/>
              <a:gd name="connsiteX0" fmla="*/ 0 w 1591281"/>
              <a:gd name="connsiteY0" fmla="*/ 745328 h 1425021"/>
              <a:gd name="connsiteX1" fmla="*/ 0 w 1591281"/>
              <a:gd name="connsiteY1" fmla="*/ 1273966 h 1425021"/>
              <a:gd name="connsiteX2" fmla="*/ 1574006 w 1591281"/>
              <a:gd name="connsiteY2" fmla="*/ 928685 h 1425021"/>
              <a:gd name="connsiteX3" fmla="*/ 1323974 w 1591281"/>
              <a:gd name="connsiteY3" fmla="*/ 207167 h 1425021"/>
              <a:gd name="connsiteX4" fmla="*/ 835820 w 1591281"/>
              <a:gd name="connsiteY4" fmla="*/ 0 h 1425021"/>
              <a:gd name="connsiteX5" fmla="*/ 595313 w 1591281"/>
              <a:gd name="connsiteY5" fmla="*/ 392906 h 1425021"/>
              <a:gd name="connsiteX6" fmla="*/ 923925 w 1591281"/>
              <a:gd name="connsiteY6" fmla="*/ 633411 h 1425021"/>
              <a:gd name="connsiteX7" fmla="*/ 621506 w 1591281"/>
              <a:gd name="connsiteY7" fmla="*/ 978691 h 1425021"/>
              <a:gd name="connsiteX8" fmla="*/ 0 w 1591281"/>
              <a:gd name="connsiteY8" fmla="*/ 745328 h 1425021"/>
              <a:gd name="connsiteX0" fmla="*/ 0 w 1622856"/>
              <a:gd name="connsiteY0" fmla="*/ 745328 h 1425021"/>
              <a:gd name="connsiteX1" fmla="*/ 0 w 1622856"/>
              <a:gd name="connsiteY1" fmla="*/ 1273966 h 1425021"/>
              <a:gd name="connsiteX2" fmla="*/ 1574006 w 1622856"/>
              <a:gd name="connsiteY2" fmla="*/ 928685 h 1425021"/>
              <a:gd name="connsiteX3" fmla="*/ 1323974 w 1622856"/>
              <a:gd name="connsiteY3" fmla="*/ 207167 h 1425021"/>
              <a:gd name="connsiteX4" fmla="*/ 835820 w 1622856"/>
              <a:gd name="connsiteY4" fmla="*/ 0 h 1425021"/>
              <a:gd name="connsiteX5" fmla="*/ 595313 w 1622856"/>
              <a:gd name="connsiteY5" fmla="*/ 392906 h 1425021"/>
              <a:gd name="connsiteX6" fmla="*/ 923925 w 1622856"/>
              <a:gd name="connsiteY6" fmla="*/ 633411 h 1425021"/>
              <a:gd name="connsiteX7" fmla="*/ 621506 w 1622856"/>
              <a:gd name="connsiteY7" fmla="*/ 978691 h 1425021"/>
              <a:gd name="connsiteX8" fmla="*/ 0 w 1622856"/>
              <a:gd name="connsiteY8" fmla="*/ 745328 h 1425021"/>
              <a:gd name="connsiteX0" fmla="*/ 0 w 1608710"/>
              <a:gd name="connsiteY0" fmla="*/ 745328 h 1425021"/>
              <a:gd name="connsiteX1" fmla="*/ 0 w 1608710"/>
              <a:gd name="connsiteY1" fmla="*/ 1273966 h 1425021"/>
              <a:gd name="connsiteX2" fmla="*/ 1574006 w 1608710"/>
              <a:gd name="connsiteY2" fmla="*/ 928685 h 1425021"/>
              <a:gd name="connsiteX3" fmla="*/ 1264443 w 1608710"/>
              <a:gd name="connsiteY3" fmla="*/ 166686 h 1425021"/>
              <a:gd name="connsiteX4" fmla="*/ 835820 w 1608710"/>
              <a:gd name="connsiteY4" fmla="*/ 0 h 1425021"/>
              <a:gd name="connsiteX5" fmla="*/ 595313 w 1608710"/>
              <a:gd name="connsiteY5" fmla="*/ 392906 h 1425021"/>
              <a:gd name="connsiteX6" fmla="*/ 923925 w 1608710"/>
              <a:gd name="connsiteY6" fmla="*/ 633411 h 1425021"/>
              <a:gd name="connsiteX7" fmla="*/ 621506 w 1608710"/>
              <a:gd name="connsiteY7" fmla="*/ 978691 h 1425021"/>
              <a:gd name="connsiteX8" fmla="*/ 0 w 1608710"/>
              <a:gd name="connsiteY8" fmla="*/ 745328 h 1425021"/>
              <a:gd name="connsiteX0" fmla="*/ 0 w 1623138"/>
              <a:gd name="connsiteY0" fmla="*/ 745328 h 1425021"/>
              <a:gd name="connsiteX1" fmla="*/ 0 w 1623138"/>
              <a:gd name="connsiteY1" fmla="*/ 1273966 h 1425021"/>
              <a:gd name="connsiteX2" fmla="*/ 1574006 w 1623138"/>
              <a:gd name="connsiteY2" fmla="*/ 928685 h 1425021"/>
              <a:gd name="connsiteX3" fmla="*/ 1264443 w 1623138"/>
              <a:gd name="connsiteY3" fmla="*/ 166686 h 1425021"/>
              <a:gd name="connsiteX4" fmla="*/ 835820 w 1623138"/>
              <a:gd name="connsiteY4" fmla="*/ 0 h 1425021"/>
              <a:gd name="connsiteX5" fmla="*/ 595313 w 1623138"/>
              <a:gd name="connsiteY5" fmla="*/ 392906 h 1425021"/>
              <a:gd name="connsiteX6" fmla="*/ 923925 w 1623138"/>
              <a:gd name="connsiteY6" fmla="*/ 633411 h 1425021"/>
              <a:gd name="connsiteX7" fmla="*/ 621506 w 1623138"/>
              <a:gd name="connsiteY7" fmla="*/ 978691 h 1425021"/>
              <a:gd name="connsiteX8" fmla="*/ 0 w 1623138"/>
              <a:gd name="connsiteY8" fmla="*/ 745328 h 1425021"/>
              <a:gd name="connsiteX0" fmla="*/ 0 w 1623138"/>
              <a:gd name="connsiteY0" fmla="*/ 745328 h 1425021"/>
              <a:gd name="connsiteX1" fmla="*/ 0 w 1623138"/>
              <a:gd name="connsiteY1" fmla="*/ 1273966 h 1425021"/>
              <a:gd name="connsiteX2" fmla="*/ 1574006 w 1623138"/>
              <a:gd name="connsiteY2" fmla="*/ 928685 h 1425021"/>
              <a:gd name="connsiteX3" fmla="*/ 1264443 w 1623138"/>
              <a:gd name="connsiteY3" fmla="*/ 166686 h 1425021"/>
              <a:gd name="connsiteX4" fmla="*/ 835820 w 1623138"/>
              <a:gd name="connsiteY4" fmla="*/ 0 h 1425021"/>
              <a:gd name="connsiteX5" fmla="*/ 595313 w 1623138"/>
              <a:gd name="connsiteY5" fmla="*/ 392906 h 1425021"/>
              <a:gd name="connsiteX6" fmla="*/ 923925 w 1623138"/>
              <a:gd name="connsiteY6" fmla="*/ 633411 h 1425021"/>
              <a:gd name="connsiteX7" fmla="*/ 621506 w 1623138"/>
              <a:gd name="connsiteY7" fmla="*/ 978691 h 1425021"/>
              <a:gd name="connsiteX8" fmla="*/ 0 w 1623138"/>
              <a:gd name="connsiteY8" fmla="*/ 745328 h 1425021"/>
              <a:gd name="connsiteX0" fmla="*/ 0 w 1623138"/>
              <a:gd name="connsiteY0" fmla="*/ 745328 h 1425021"/>
              <a:gd name="connsiteX1" fmla="*/ 0 w 1623138"/>
              <a:gd name="connsiteY1" fmla="*/ 1273966 h 1425021"/>
              <a:gd name="connsiteX2" fmla="*/ 1574006 w 1623138"/>
              <a:gd name="connsiteY2" fmla="*/ 928685 h 1425021"/>
              <a:gd name="connsiteX3" fmla="*/ 1264443 w 1623138"/>
              <a:gd name="connsiteY3" fmla="*/ 166686 h 1425021"/>
              <a:gd name="connsiteX4" fmla="*/ 835820 w 1623138"/>
              <a:gd name="connsiteY4" fmla="*/ 0 h 1425021"/>
              <a:gd name="connsiteX5" fmla="*/ 709613 w 1623138"/>
              <a:gd name="connsiteY5" fmla="*/ 207169 h 1425021"/>
              <a:gd name="connsiteX6" fmla="*/ 595313 w 1623138"/>
              <a:gd name="connsiteY6" fmla="*/ 392906 h 1425021"/>
              <a:gd name="connsiteX7" fmla="*/ 923925 w 1623138"/>
              <a:gd name="connsiteY7" fmla="*/ 633411 h 1425021"/>
              <a:gd name="connsiteX8" fmla="*/ 621506 w 1623138"/>
              <a:gd name="connsiteY8" fmla="*/ 978691 h 1425021"/>
              <a:gd name="connsiteX9" fmla="*/ 0 w 1623138"/>
              <a:gd name="connsiteY9" fmla="*/ 745328 h 1425021"/>
              <a:gd name="connsiteX0" fmla="*/ 0 w 1623138"/>
              <a:gd name="connsiteY0" fmla="*/ 797716 h 1477409"/>
              <a:gd name="connsiteX1" fmla="*/ 0 w 1623138"/>
              <a:gd name="connsiteY1" fmla="*/ 1326354 h 1477409"/>
              <a:gd name="connsiteX2" fmla="*/ 1574006 w 1623138"/>
              <a:gd name="connsiteY2" fmla="*/ 981073 h 1477409"/>
              <a:gd name="connsiteX3" fmla="*/ 1264443 w 1623138"/>
              <a:gd name="connsiteY3" fmla="*/ 219074 h 1477409"/>
              <a:gd name="connsiteX4" fmla="*/ 835820 w 1623138"/>
              <a:gd name="connsiteY4" fmla="*/ 52388 h 1477409"/>
              <a:gd name="connsiteX5" fmla="*/ 421482 w 1623138"/>
              <a:gd name="connsiteY5" fmla="*/ 0 h 1477409"/>
              <a:gd name="connsiteX6" fmla="*/ 595313 w 1623138"/>
              <a:gd name="connsiteY6" fmla="*/ 445294 h 1477409"/>
              <a:gd name="connsiteX7" fmla="*/ 923925 w 1623138"/>
              <a:gd name="connsiteY7" fmla="*/ 685799 h 1477409"/>
              <a:gd name="connsiteX8" fmla="*/ 621506 w 1623138"/>
              <a:gd name="connsiteY8" fmla="*/ 1031079 h 1477409"/>
              <a:gd name="connsiteX9" fmla="*/ 0 w 1623138"/>
              <a:gd name="connsiteY9" fmla="*/ 797716 h 1477409"/>
              <a:gd name="connsiteX0" fmla="*/ 0 w 1623138"/>
              <a:gd name="connsiteY0" fmla="*/ 797716 h 1477409"/>
              <a:gd name="connsiteX1" fmla="*/ 0 w 1623138"/>
              <a:gd name="connsiteY1" fmla="*/ 1326354 h 1477409"/>
              <a:gd name="connsiteX2" fmla="*/ 1574006 w 1623138"/>
              <a:gd name="connsiteY2" fmla="*/ 981073 h 1477409"/>
              <a:gd name="connsiteX3" fmla="*/ 1264443 w 1623138"/>
              <a:gd name="connsiteY3" fmla="*/ 219074 h 1477409"/>
              <a:gd name="connsiteX4" fmla="*/ 835820 w 1623138"/>
              <a:gd name="connsiteY4" fmla="*/ 52388 h 1477409"/>
              <a:gd name="connsiteX5" fmla="*/ 654844 w 1623138"/>
              <a:gd name="connsiteY5" fmla="*/ 26194 h 1477409"/>
              <a:gd name="connsiteX6" fmla="*/ 421482 w 1623138"/>
              <a:gd name="connsiteY6" fmla="*/ 0 h 1477409"/>
              <a:gd name="connsiteX7" fmla="*/ 595313 w 1623138"/>
              <a:gd name="connsiteY7" fmla="*/ 445294 h 1477409"/>
              <a:gd name="connsiteX8" fmla="*/ 923925 w 1623138"/>
              <a:gd name="connsiteY8" fmla="*/ 685799 h 1477409"/>
              <a:gd name="connsiteX9" fmla="*/ 621506 w 1623138"/>
              <a:gd name="connsiteY9" fmla="*/ 1031079 h 1477409"/>
              <a:gd name="connsiteX10" fmla="*/ 0 w 1623138"/>
              <a:gd name="connsiteY10" fmla="*/ 797716 h 1477409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652572"/>
              <a:gd name="connsiteX1" fmla="*/ 0 w 1623138"/>
              <a:gd name="connsiteY1" fmla="*/ 1647822 h 1652572"/>
              <a:gd name="connsiteX2" fmla="*/ 1574006 w 1623138"/>
              <a:gd name="connsiteY2" fmla="*/ 1302541 h 1652572"/>
              <a:gd name="connsiteX3" fmla="*/ 1264443 w 1623138"/>
              <a:gd name="connsiteY3" fmla="*/ 540542 h 1652572"/>
              <a:gd name="connsiteX4" fmla="*/ 835820 w 1623138"/>
              <a:gd name="connsiteY4" fmla="*/ 373856 h 1652572"/>
              <a:gd name="connsiteX5" fmla="*/ 807244 w 1623138"/>
              <a:gd name="connsiteY5" fmla="*/ 0 h 1652572"/>
              <a:gd name="connsiteX6" fmla="*/ 421482 w 1623138"/>
              <a:gd name="connsiteY6" fmla="*/ 321468 h 1652572"/>
              <a:gd name="connsiteX7" fmla="*/ 595313 w 1623138"/>
              <a:gd name="connsiteY7" fmla="*/ 766762 h 1652572"/>
              <a:gd name="connsiteX8" fmla="*/ 923925 w 1623138"/>
              <a:gd name="connsiteY8" fmla="*/ 1007267 h 1652572"/>
              <a:gd name="connsiteX9" fmla="*/ 621506 w 1623138"/>
              <a:gd name="connsiteY9" fmla="*/ 1352547 h 1652572"/>
              <a:gd name="connsiteX10" fmla="*/ 0 w 1623138"/>
              <a:gd name="connsiteY10" fmla="*/ 1119184 h 1652572"/>
              <a:gd name="connsiteX0" fmla="*/ 0 w 1627271"/>
              <a:gd name="connsiteY0" fmla="*/ 1119184 h 1712926"/>
              <a:gd name="connsiteX1" fmla="*/ 0 w 1627271"/>
              <a:gd name="connsiteY1" fmla="*/ 1647822 h 1712926"/>
              <a:gd name="connsiteX2" fmla="*/ 1574006 w 1627271"/>
              <a:gd name="connsiteY2" fmla="*/ 1302541 h 1712926"/>
              <a:gd name="connsiteX3" fmla="*/ 1264443 w 1627271"/>
              <a:gd name="connsiteY3" fmla="*/ 540542 h 1712926"/>
              <a:gd name="connsiteX4" fmla="*/ 835820 w 1627271"/>
              <a:gd name="connsiteY4" fmla="*/ 373856 h 1712926"/>
              <a:gd name="connsiteX5" fmla="*/ 807244 w 1627271"/>
              <a:gd name="connsiteY5" fmla="*/ 0 h 1712926"/>
              <a:gd name="connsiteX6" fmla="*/ 421482 w 1627271"/>
              <a:gd name="connsiteY6" fmla="*/ 321468 h 1712926"/>
              <a:gd name="connsiteX7" fmla="*/ 595313 w 1627271"/>
              <a:gd name="connsiteY7" fmla="*/ 766762 h 1712926"/>
              <a:gd name="connsiteX8" fmla="*/ 923925 w 1627271"/>
              <a:gd name="connsiteY8" fmla="*/ 1007267 h 1712926"/>
              <a:gd name="connsiteX9" fmla="*/ 621506 w 1627271"/>
              <a:gd name="connsiteY9" fmla="*/ 1352547 h 1712926"/>
              <a:gd name="connsiteX10" fmla="*/ 0 w 1627271"/>
              <a:gd name="connsiteY10" fmla="*/ 1119184 h 1712926"/>
              <a:gd name="connsiteX0" fmla="*/ 0 w 1627271"/>
              <a:gd name="connsiteY0" fmla="*/ 1119184 h 1797816"/>
              <a:gd name="connsiteX1" fmla="*/ 0 w 1627271"/>
              <a:gd name="connsiteY1" fmla="*/ 1647822 h 1797816"/>
              <a:gd name="connsiteX2" fmla="*/ 1574006 w 1627271"/>
              <a:gd name="connsiteY2" fmla="*/ 1302541 h 1797816"/>
              <a:gd name="connsiteX3" fmla="*/ 1264443 w 1627271"/>
              <a:gd name="connsiteY3" fmla="*/ 540542 h 1797816"/>
              <a:gd name="connsiteX4" fmla="*/ 835820 w 1627271"/>
              <a:gd name="connsiteY4" fmla="*/ 373856 h 1797816"/>
              <a:gd name="connsiteX5" fmla="*/ 807244 w 1627271"/>
              <a:gd name="connsiteY5" fmla="*/ 0 h 1797816"/>
              <a:gd name="connsiteX6" fmla="*/ 421482 w 1627271"/>
              <a:gd name="connsiteY6" fmla="*/ 321468 h 1797816"/>
              <a:gd name="connsiteX7" fmla="*/ 595313 w 1627271"/>
              <a:gd name="connsiteY7" fmla="*/ 766762 h 1797816"/>
              <a:gd name="connsiteX8" fmla="*/ 923925 w 1627271"/>
              <a:gd name="connsiteY8" fmla="*/ 1007267 h 1797816"/>
              <a:gd name="connsiteX9" fmla="*/ 621506 w 1627271"/>
              <a:gd name="connsiteY9" fmla="*/ 1352547 h 1797816"/>
              <a:gd name="connsiteX10" fmla="*/ 0 w 1627271"/>
              <a:gd name="connsiteY10" fmla="*/ 1119184 h 1797816"/>
              <a:gd name="connsiteX0" fmla="*/ 0 w 1622231"/>
              <a:gd name="connsiteY0" fmla="*/ 1119184 h 1773253"/>
              <a:gd name="connsiteX1" fmla="*/ 0 w 1622231"/>
              <a:gd name="connsiteY1" fmla="*/ 1647822 h 1773253"/>
              <a:gd name="connsiteX2" fmla="*/ 1574006 w 1622231"/>
              <a:gd name="connsiteY2" fmla="*/ 1302541 h 1773253"/>
              <a:gd name="connsiteX3" fmla="*/ 1264443 w 1622231"/>
              <a:gd name="connsiteY3" fmla="*/ 540542 h 1773253"/>
              <a:gd name="connsiteX4" fmla="*/ 835820 w 1622231"/>
              <a:gd name="connsiteY4" fmla="*/ 373856 h 1773253"/>
              <a:gd name="connsiteX5" fmla="*/ 807244 w 1622231"/>
              <a:gd name="connsiteY5" fmla="*/ 0 h 1773253"/>
              <a:gd name="connsiteX6" fmla="*/ 421482 w 1622231"/>
              <a:gd name="connsiteY6" fmla="*/ 321468 h 1773253"/>
              <a:gd name="connsiteX7" fmla="*/ 595313 w 1622231"/>
              <a:gd name="connsiteY7" fmla="*/ 766762 h 1773253"/>
              <a:gd name="connsiteX8" fmla="*/ 923925 w 1622231"/>
              <a:gd name="connsiteY8" fmla="*/ 1007267 h 1773253"/>
              <a:gd name="connsiteX9" fmla="*/ 621506 w 1622231"/>
              <a:gd name="connsiteY9" fmla="*/ 1352547 h 1773253"/>
              <a:gd name="connsiteX10" fmla="*/ 0 w 1622231"/>
              <a:gd name="connsiteY10" fmla="*/ 1119184 h 1773253"/>
              <a:gd name="connsiteX0" fmla="*/ 0 w 1622231"/>
              <a:gd name="connsiteY0" fmla="*/ 1119184 h 1800701"/>
              <a:gd name="connsiteX1" fmla="*/ 0 w 1622231"/>
              <a:gd name="connsiteY1" fmla="*/ 1647822 h 1800701"/>
              <a:gd name="connsiteX2" fmla="*/ 1574006 w 1622231"/>
              <a:gd name="connsiteY2" fmla="*/ 1302541 h 1800701"/>
              <a:gd name="connsiteX3" fmla="*/ 1264443 w 1622231"/>
              <a:gd name="connsiteY3" fmla="*/ 540542 h 1800701"/>
              <a:gd name="connsiteX4" fmla="*/ 835820 w 1622231"/>
              <a:gd name="connsiteY4" fmla="*/ 373856 h 1800701"/>
              <a:gd name="connsiteX5" fmla="*/ 807244 w 1622231"/>
              <a:gd name="connsiteY5" fmla="*/ 0 h 1800701"/>
              <a:gd name="connsiteX6" fmla="*/ 421482 w 1622231"/>
              <a:gd name="connsiteY6" fmla="*/ 321468 h 1800701"/>
              <a:gd name="connsiteX7" fmla="*/ 595313 w 1622231"/>
              <a:gd name="connsiteY7" fmla="*/ 766762 h 1800701"/>
              <a:gd name="connsiteX8" fmla="*/ 923925 w 1622231"/>
              <a:gd name="connsiteY8" fmla="*/ 1007267 h 1800701"/>
              <a:gd name="connsiteX9" fmla="*/ 621506 w 1622231"/>
              <a:gd name="connsiteY9" fmla="*/ 1352547 h 1800701"/>
              <a:gd name="connsiteX10" fmla="*/ 0 w 1622231"/>
              <a:gd name="connsiteY10" fmla="*/ 1119184 h 1800701"/>
              <a:gd name="connsiteX0" fmla="*/ 0 w 1552023"/>
              <a:gd name="connsiteY0" fmla="*/ 1119184 h 1859749"/>
              <a:gd name="connsiteX1" fmla="*/ 0 w 1552023"/>
              <a:gd name="connsiteY1" fmla="*/ 1647822 h 1859749"/>
              <a:gd name="connsiteX2" fmla="*/ 1462087 w 1552023"/>
              <a:gd name="connsiteY2" fmla="*/ 1469229 h 1859749"/>
              <a:gd name="connsiteX3" fmla="*/ 1264443 w 1552023"/>
              <a:gd name="connsiteY3" fmla="*/ 540542 h 1859749"/>
              <a:gd name="connsiteX4" fmla="*/ 835820 w 1552023"/>
              <a:gd name="connsiteY4" fmla="*/ 373856 h 1859749"/>
              <a:gd name="connsiteX5" fmla="*/ 807244 w 1552023"/>
              <a:gd name="connsiteY5" fmla="*/ 0 h 1859749"/>
              <a:gd name="connsiteX6" fmla="*/ 421482 w 1552023"/>
              <a:gd name="connsiteY6" fmla="*/ 321468 h 1859749"/>
              <a:gd name="connsiteX7" fmla="*/ 595313 w 1552023"/>
              <a:gd name="connsiteY7" fmla="*/ 766762 h 1859749"/>
              <a:gd name="connsiteX8" fmla="*/ 923925 w 1552023"/>
              <a:gd name="connsiteY8" fmla="*/ 1007267 h 1859749"/>
              <a:gd name="connsiteX9" fmla="*/ 621506 w 1552023"/>
              <a:gd name="connsiteY9" fmla="*/ 1352547 h 1859749"/>
              <a:gd name="connsiteX10" fmla="*/ 0 w 1552023"/>
              <a:gd name="connsiteY10" fmla="*/ 1119184 h 1859749"/>
              <a:gd name="connsiteX0" fmla="*/ 0 w 1571973"/>
              <a:gd name="connsiteY0" fmla="*/ 1119184 h 1800114"/>
              <a:gd name="connsiteX1" fmla="*/ 0 w 1571973"/>
              <a:gd name="connsiteY1" fmla="*/ 1647822 h 1800114"/>
              <a:gd name="connsiteX2" fmla="*/ 1462087 w 1571973"/>
              <a:gd name="connsiteY2" fmla="*/ 1469229 h 1800114"/>
              <a:gd name="connsiteX3" fmla="*/ 1264443 w 1571973"/>
              <a:gd name="connsiteY3" fmla="*/ 540542 h 1800114"/>
              <a:gd name="connsiteX4" fmla="*/ 835820 w 1571973"/>
              <a:gd name="connsiteY4" fmla="*/ 373856 h 1800114"/>
              <a:gd name="connsiteX5" fmla="*/ 807244 w 1571973"/>
              <a:gd name="connsiteY5" fmla="*/ 0 h 1800114"/>
              <a:gd name="connsiteX6" fmla="*/ 421482 w 1571973"/>
              <a:gd name="connsiteY6" fmla="*/ 321468 h 1800114"/>
              <a:gd name="connsiteX7" fmla="*/ 595313 w 1571973"/>
              <a:gd name="connsiteY7" fmla="*/ 766762 h 1800114"/>
              <a:gd name="connsiteX8" fmla="*/ 923925 w 1571973"/>
              <a:gd name="connsiteY8" fmla="*/ 1007267 h 1800114"/>
              <a:gd name="connsiteX9" fmla="*/ 621506 w 1571973"/>
              <a:gd name="connsiteY9" fmla="*/ 1352547 h 1800114"/>
              <a:gd name="connsiteX10" fmla="*/ 0 w 1571973"/>
              <a:gd name="connsiteY10" fmla="*/ 1119184 h 1800114"/>
              <a:gd name="connsiteX0" fmla="*/ 0 w 1620477"/>
              <a:gd name="connsiteY0" fmla="*/ 1119184 h 1800815"/>
              <a:gd name="connsiteX1" fmla="*/ 0 w 1620477"/>
              <a:gd name="connsiteY1" fmla="*/ 1647822 h 1800815"/>
              <a:gd name="connsiteX2" fmla="*/ 1462087 w 1620477"/>
              <a:gd name="connsiteY2" fmla="*/ 1469229 h 1800815"/>
              <a:gd name="connsiteX3" fmla="*/ 1264443 w 1620477"/>
              <a:gd name="connsiteY3" fmla="*/ 540542 h 1800815"/>
              <a:gd name="connsiteX4" fmla="*/ 835820 w 1620477"/>
              <a:gd name="connsiteY4" fmla="*/ 373856 h 1800815"/>
              <a:gd name="connsiteX5" fmla="*/ 807244 w 1620477"/>
              <a:gd name="connsiteY5" fmla="*/ 0 h 1800815"/>
              <a:gd name="connsiteX6" fmla="*/ 421482 w 1620477"/>
              <a:gd name="connsiteY6" fmla="*/ 321468 h 1800815"/>
              <a:gd name="connsiteX7" fmla="*/ 595313 w 1620477"/>
              <a:gd name="connsiteY7" fmla="*/ 766762 h 1800815"/>
              <a:gd name="connsiteX8" fmla="*/ 923925 w 1620477"/>
              <a:gd name="connsiteY8" fmla="*/ 1007267 h 1800815"/>
              <a:gd name="connsiteX9" fmla="*/ 621506 w 1620477"/>
              <a:gd name="connsiteY9" fmla="*/ 1352547 h 1800815"/>
              <a:gd name="connsiteX10" fmla="*/ 0 w 1620477"/>
              <a:gd name="connsiteY10" fmla="*/ 1119184 h 1800815"/>
              <a:gd name="connsiteX0" fmla="*/ 0 w 1629436"/>
              <a:gd name="connsiteY0" fmla="*/ 1119184 h 1799377"/>
              <a:gd name="connsiteX1" fmla="*/ 0 w 1629436"/>
              <a:gd name="connsiteY1" fmla="*/ 1647822 h 1799377"/>
              <a:gd name="connsiteX2" fmla="*/ 1476374 w 1629436"/>
              <a:gd name="connsiteY2" fmla="*/ 1464467 h 1799377"/>
              <a:gd name="connsiteX3" fmla="*/ 1264443 w 1629436"/>
              <a:gd name="connsiteY3" fmla="*/ 540542 h 1799377"/>
              <a:gd name="connsiteX4" fmla="*/ 835820 w 1629436"/>
              <a:gd name="connsiteY4" fmla="*/ 373856 h 1799377"/>
              <a:gd name="connsiteX5" fmla="*/ 807244 w 1629436"/>
              <a:gd name="connsiteY5" fmla="*/ 0 h 1799377"/>
              <a:gd name="connsiteX6" fmla="*/ 421482 w 1629436"/>
              <a:gd name="connsiteY6" fmla="*/ 321468 h 1799377"/>
              <a:gd name="connsiteX7" fmla="*/ 595313 w 1629436"/>
              <a:gd name="connsiteY7" fmla="*/ 766762 h 1799377"/>
              <a:gd name="connsiteX8" fmla="*/ 923925 w 1629436"/>
              <a:gd name="connsiteY8" fmla="*/ 1007267 h 1799377"/>
              <a:gd name="connsiteX9" fmla="*/ 621506 w 1629436"/>
              <a:gd name="connsiteY9" fmla="*/ 1352547 h 1799377"/>
              <a:gd name="connsiteX10" fmla="*/ 0 w 1629436"/>
              <a:gd name="connsiteY10" fmla="*/ 1119184 h 1799377"/>
              <a:gd name="connsiteX0" fmla="*/ 0 w 1606110"/>
              <a:gd name="connsiteY0" fmla="*/ 1119184 h 1796213"/>
              <a:gd name="connsiteX1" fmla="*/ 0 w 1606110"/>
              <a:gd name="connsiteY1" fmla="*/ 1647822 h 1796213"/>
              <a:gd name="connsiteX2" fmla="*/ 1476374 w 1606110"/>
              <a:gd name="connsiteY2" fmla="*/ 1464467 h 1796213"/>
              <a:gd name="connsiteX3" fmla="*/ 1264443 w 1606110"/>
              <a:gd name="connsiteY3" fmla="*/ 540542 h 1796213"/>
              <a:gd name="connsiteX4" fmla="*/ 835820 w 1606110"/>
              <a:gd name="connsiteY4" fmla="*/ 373856 h 1796213"/>
              <a:gd name="connsiteX5" fmla="*/ 807244 w 1606110"/>
              <a:gd name="connsiteY5" fmla="*/ 0 h 1796213"/>
              <a:gd name="connsiteX6" fmla="*/ 421482 w 1606110"/>
              <a:gd name="connsiteY6" fmla="*/ 321468 h 1796213"/>
              <a:gd name="connsiteX7" fmla="*/ 595313 w 1606110"/>
              <a:gd name="connsiteY7" fmla="*/ 766762 h 1796213"/>
              <a:gd name="connsiteX8" fmla="*/ 923925 w 1606110"/>
              <a:gd name="connsiteY8" fmla="*/ 1007267 h 1796213"/>
              <a:gd name="connsiteX9" fmla="*/ 621506 w 1606110"/>
              <a:gd name="connsiteY9" fmla="*/ 1352547 h 1796213"/>
              <a:gd name="connsiteX10" fmla="*/ 0 w 1606110"/>
              <a:gd name="connsiteY10" fmla="*/ 1119184 h 1796213"/>
              <a:gd name="connsiteX0" fmla="*/ 0 w 1625337"/>
              <a:gd name="connsiteY0" fmla="*/ 1119184 h 1796213"/>
              <a:gd name="connsiteX1" fmla="*/ 0 w 1625337"/>
              <a:gd name="connsiteY1" fmla="*/ 1647822 h 1796213"/>
              <a:gd name="connsiteX2" fmla="*/ 1476374 w 1625337"/>
              <a:gd name="connsiteY2" fmla="*/ 1464467 h 1796213"/>
              <a:gd name="connsiteX3" fmla="*/ 1264443 w 1625337"/>
              <a:gd name="connsiteY3" fmla="*/ 540542 h 1796213"/>
              <a:gd name="connsiteX4" fmla="*/ 835820 w 1625337"/>
              <a:gd name="connsiteY4" fmla="*/ 373856 h 1796213"/>
              <a:gd name="connsiteX5" fmla="*/ 807244 w 1625337"/>
              <a:gd name="connsiteY5" fmla="*/ 0 h 1796213"/>
              <a:gd name="connsiteX6" fmla="*/ 421482 w 1625337"/>
              <a:gd name="connsiteY6" fmla="*/ 321468 h 1796213"/>
              <a:gd name="connsiteX7" fmla="*/ 595313 w 1625337"/>
              <a:gd name="connsiteY7" fmla="*/ 766762 h 1796213"/>
              <a:gd name="connsiteX8" fmla="*/ 923925 w 1625337"/>
              <a:gd name="connsiteY8" fmla="*/ 1007267 h 1796213"/>
              <a:gd name="connsiteX9" fmla="*/ 621506 w 1625337"/>
              <a:gd name="connsiteY9" fmla="*/ 1352547 h 1796213"/>
              <a:gd name="connsiteX10" fmla="*/ 0 w 1625337"/>
              <a:gd name="connsiteY10" fmla="*/ 1119184 h 1796213"/>
              <a:gd name="connsiteX0" fmla="*/ 0 w 1625337"/>
              <a:gd name="connsiteY0" fmla="*/ 1119184 h 1803595"/>
              <a:gd name="connsiteX1" fmla="*/ 0 w 1625337"/>
              <a:gd name="connsiteY1" fmla="*/ 1647822 h 1803595"/>
              <a:gd name="connsiteX2" fmla="*/ 1476374 w 1625337"/>
              <a:gd name="connsiteY2" fmla="*/ 1464467 h 1803595"/>
              <a:gd name="connsiteX3" fmla="*/ 1264443 w 1625337"/>
              <a:gd name="connsiteY3" fmla="*/ 540542 h 1803595"/>
              <a:gd name="connsiteX4" fmla="*/ 835820 w 1625337"/>
              <a:gd name="connsiteY4" fmla="*/ 373856 h 1803595"/>
              <a:gd name="connsiteX5" fmla="*/ 807244 w 1625337"/>
              <a:gd name="connsiteY5" fmla="*/ 0 h 1803595"/>
              <a:gd name="connsiteX6" fmla="*/ 421482 w 1625337"/>
              <a:gd name="connsiteY6" fmla="*/ 321468 h 1803595"/>
              <a:gd name="connsiteX7" fmla="*/ 595313 w 1625337"/>
              <a:gd name="connsiteY7" fmla="*/ 766762 h 1803595"/>
              <a:gd name="connsiteX8" fmla="*/ 923925 w 1625337"/>
              <a:gd name="connsiteY8" fmla="*/ 1007267 h 1803595"/>
              <a:gd name="connsiteX9" fmla="*/ 621506 w 1625337"/>
              <a:gd name="connsiteY9" fmla="*/ 1352547 h 1803595"/>
              <a:gd name="connsiteX10" fmla="*/ 0 w 1625337"/>
              <a:gd name="connsiteY10" fmla="*/ 1119184 h 1803595"/>
              <a:gd name="connsiteX0" fmla="*/ 0 w 1625337"/>
              <a:gd name="connsiteY0" fmla="*/ 1119184 h 1799376"/>
              <a:gd name="connsiteX1" fmla="*/ 0 w 1625337"/>
              <a:gd name="connsiteY1" fmla="*/ 1647822 h 1799376"/>
              <a:gd name="connsiteX2" fmla="*/ 1476374 w 1625337"/>
              <a:gd name="connsiteY2" fmla="*/ 1464467 h 1799376"/>
              <a:gd name="connsiteX3" fmla="*/ 1264443 w 1625337"/>
              <a:gd name="connsiteY3" fmla="*/ 540542 h 1799376"/>
              <a:gd name="connsiteX4" fmla="*/ 835820 w 1625337"/>
              <a:gd name="connsiteY4" fmla="*/ 373856 h 1799376"/>
              <a:gd name="connsiteX5" fmla="*/ 807244 w 1625337"/>
              <a:gd name="connsiteY5" fmla="*/ 0 h 1799376"/>
              <a:gd name="connsiteX6" fmla="*/ 421482 w 1625337"/>
              <a:gd name="connsiteY6" fmla="*/ 321468 h 1799376"/>
              <a:gd name="connsiteX7" fmla="*/ 595313 w 1625337"/>
              <a:gd name="connsiteY7" fmla="*/ 766762 h 1799376"/>
              <a:gd name="connsiteX8" fmla="*/ 923925 w 1625337"/>
              <a:gd name="connsiteY8" fmla="*/ 1007267 h 1799376"/>
              <a:gd name="connsiteX9" fmla="*/ 621506 w 1625337"/>
              <a:gd name="connsiteY9" fmla="*/ 1352547 h 1799376"/>
              <a:gd name="connsiteX10" fmla="*/ 0 w 1625337"/>
              <a:gd name="connsiteY10" fmla="*/ 1119184 h 1799376"/>
              <a:gd name="connsiteX0" fmla="*/ 0 w 1635914"/>
              <a:gd name="connsiteY0" fmla="*/ 1119184 h 1799376"/>
              <a:gd name="connsiteX1" fmla="*/ 0 w 1635914"/>
              <a:gd name="connsiteY1" fmla="*/ 1647822 h 1799376"/>
              <a:gd name="connsiteX2" fmla="*/ 1476374 w 1635914"/>
              <a:gd name="connsiteY2" fmla="*/ 1464467 h 1799376"/>
              <a:gd name="connsiteX3" fmla="*/ 1264443 w 1635914"/>
              <a:gd name="connsiteY3" fmla="*/ 540542 h 1799376"/>
              <a:gd name="connsiteX4" fmla="*/ 835820 w 1635914"/>
              <a:gd name="connsiteY4" fmla="*/ 373856 h 1799376"/>
              <a:gd name="connsiteX5" fmla="*/ 807244 w 1635914"/>
              <a:gd name="connsiteY5" fmla="*/ 0 h 1799376"/>
              <a:gd name="connsiteX6" fmla="*/ 421482 w 1635914"/>
              <a:gd name="connsiteY6" fmla="*/ 321468 h 1799376"/>
              <a:gd name="connsiteX7" fmla="*/ 595313 w 1635914"/>
              <a:gd name="connsiteY7" fmla="*/ 766762 h 1799376"/>
              <a:gd name="connsiteX8" fmla="*/ 923925 w 1635914"/>
              <a:gd name="connsiteY8" fmla="*/ 1007267 h 1799376"/>
              <a:gd name="connsiteX9" fmla="*/ 621506 w 1635914"/>
              <a:gd name="connsiteY9" fmla="*/ 1352547 h 1799376"/>
              <a:gd name="connsiteX10" fmla="*/ 0 w 1635914"/>
              <a:gd name="connsiteY10" fmla="*/ 1119184 h 1799376"/>
              <a:gd name="connsiteX0" fmla="*/ 0 w 1720482"/>
              <a:gd name="connsiteY0" fmla="*/ 1119184 h 1772537"/>
              <a:gd name="connsiteX1" fmla="*/ 0 w 1720482"/>
              <a:gd name="connsiteY1" fmla="*/ 1647822 h 1772537"/>
              <a:gd name="connsiteX2" fmla="*/ 1476374 w 1720482"/>
              <a:gd name="connsiteY2" fmla="*/ 1464467 h 1772537"/>
              <a:gd name="connsiteX3" fmla="*/ 1397793 w 1720482"/>
              <a:gd name="connsiteY3" fmla="*/ 626267 h 1772537"/>
              <a:gd name="connsiteX4" fmla="*/ 835820 w 1720482"/>
              <a:gd name="connsiteY4" fmla="*/ 373856 h 1772537"/>
              <a:gd name="connsiteX5" fmla="*/ 807244 w 1720482"/>
              <a:gd name="connsiteY5" fmla="*/ 0 h 1772537"/>
              <a:gd name="connsiteX6" fmla="*/ 421482 w 1720482"/>
              <a:gd name="connsiteY6" fmla="*/ 321468 h 1772537"/>
              <a:gd name="connsiteX7" fmla="*/ 595313 w 1720482"/>
              <a:gd name="connsiteY7" fmla="*/ 766762 h 1772537"/>
              <a:gd name="connsiteX8" fmla="*/ 923925 w 1720482"/>
              <a:gd name="connsiteY8" fmla="*/ 1007267 h 1772537"/>
              <a:gd name="connsiteX9" fmla="*/ 621506 w 1720482"/>
              <a:gd name="connsiteY9" fmla="*/ 1352547 h 1772537"/>
              <a:gd name="connsiteX10" fmla="*/ 0 w 1720482"/>
              <a:gd name="connsiteY10" fmla="*/ 1119184 h 1772537"/>
              <a:gd name="connsiteX0" fmla="*/ 0 w 1630664"/>
              <a:gd name="connsiteY0" fmla="*/ 1119184 h 1772537"/>
              <a:gd name="connsiteX1" fmla="*/ 0 w 1630664"/>
              <a:gd name="connsiteY1" fmla="*/ 1647822 h 1772537"/>
              <a:gd name="connsiteX2" fmla="*/ 1476374 w 1630664"/>
              <a:gd name="connsiteY2" fmla="*/ 1464467 h 1772537"/>
              <a:gd name="connsiteX3" fmla="*/ 1397793 w 1630664"/>
              <a:gd name="connsiteY3" fmla="*/ 626267 h 1772537"/>
              <a:gd name="connsiteX4" fmla="*/ 835820 w 1630664"/>
              <a:gd name="connsiteY4" fmla="*/ 373856 h 1772537"/>
              <a:gd name="connsiteX5" fmla="*/ 807244 w 1630664"/>
              <a:gd name="connsiteY5" fmla="*/ 0 h 1772537"/>
              <a:gd name="connsiteX6" fmla="*/ 421482 w 1630664"/>
              <a:gd name="connsiteY6" fmla="*/ 321468 h 1772537"/>
              <a:gd name="connsiteX7" fmla="*/ 595313 w 1630664"/>
              <a:gd name="connsiteY7" fmla="*/ 766762 h 1772537"/>
              <a:gd name="connsiteX8" fmla="*/ 923925 w 1630664"/>
              <a:gd name="connsiteY8" fmla="*/ 1007267 h 1772537"/>
              <a:gd name="connsiteX9" fmla="*/ 621506 w 1630664"/>
              <a:gd name="connsiteY9" fmla="*/ 1352547 h 1772537"/>
              <a:gd name="connsiteX10" fmla="*/ 0 w 1630664"/>
              <a:gd name="connsiteY10" fmla="*/ 1119184 h 1772537"/>
              <a:gd name="connsiteX0" fmla="*/ 0 w 1615856"/>
              <a:gd name="connsiteY0" fmla="*/ 1119184 h 1800557"/>
              <a:gd name="connsiteX1" fmla="*/ 0 w 1615856"/>
              <a:gd name="connsiteY1" fmla="*/ 1647822 h 1800557"/>
              <a:gd name="connsiteX2" fmla="*/ 1476374 w 1615856"/>
              <a:gd name="connsiteY2" fmla="*/ 1464467 h 1800557"/>
              <a:gd name="connsiteX3" fmla="*/ 1397793 w 1615856"/>
              <a:gd name="connsiteY3" fmla="*/ 626267 h 1800557"/>
              <a:gd name="connsiteX4" fmla="*/ 835820 w 1615856"/>
              <a:gd name="connsiteY4" fmla="*/ 373856 h 1800557"/>
              <a:gd name="connsiteX5" fmla="*/ 807244 w 1615856"/>
              <a:gd name="connsiteY5" fmla="*/ 0 h 1800557"/>
              <a:gd name="connsiteX6" fmla="*/ 421482 w 1615856"/>
              <a:gd name="connsiteY6" fmla="*/ 321468 h 1800557"/>
              <a:gd name="connsiteX7" fmla="*/ 595313 w 1615856"/>
              <a:gd name="connsiteY7" fmla="*/ 766762 h 1800557"/>
              <a:gd name="connsiteX8" fmla="*/ 923925 w 1615856"/>
              <a:gd name="connsiteY8" fmla="*/ 1007267 h 1800557"/>
              <a:gd name="connsiteX9" fmla="*/ 621506 w 1615856"/>
              <a:gd name="connsiteY9" fmla="*/ 1352547 h 1800557"/>
              <a:gd name="connsiteX10" fmla="*/ 0 w 1615856"/>
              <a:gd name="connsiteY10" fmla="*/ 1119184 h 1800557"/>
              <a:gd name="connsiteX0" fmla="*/ 0 w 1626496"/>
              <a:gd name="connsiteY0" fmla="*/ 1119184 h 1800277"/>
              <a:gd name="connsiteX1" fmla="*/ 0 w 1626496"/>
              <a:gd name="connsiteY1" fmla="*/ 1647822 h 1800277"/>
              <a:gd name="connsiteX2" fmla="*/ 1476374 w 1626496"/>
              <a:gd name="connsiteY2" fmla="*/ 1464467 h 1800277"/>
              <a:gd name="connsiteX3" fmla="*/ 1397793 w 1626496"/>
              <a:gd name="connsiteY3" fmla="*/ 626267 h 1800277"/>
              <a:gd name="connsiteX4" fmla="*/ 835820 w 1626496"/>
              <a:gd name="connsiteY4" fmla="*/ 373856 h 1800277"/>
              <a:gd name="connsiteX5" fmla="*/ 807244 w 1626496"/>
              <a:gd name="connsiteY5" fmla="*/ 0 h 1800277"/>
              <a:gd name="connsiteX6" fmla="*/ 421482 w 1626496"/>
              <a:gd name="connsiteY6" fmla="*/ 321468 h 1800277"/>
              <a:gd name="connsiteX7" fmla="*/ 595313 w 1626496"/>
              <a:gd name="connsiteY7" fmla="*/ 766762 h 1800277"/>
              <a:gd name="connsiteX8" fmla="*/ 923925 w 1626496"/>
              <a:gd name="connsiteY8" fmla="*/ 1007267 h 1800277"/>
              <a:gd name="connsiteX9" fmla="*/ 621506 w 1626496"/>
              <a:gd name="connsiteY9" fmla="*/ 1352547 h 1800277"/>
              <a:gd name="connsiteX10" fmla="*/ 0 w 1626496"/>
              <a:gd name="connsiteY10" fmla="*/ 1119184 h 1800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626496" h="1800277">
                <a:moveTo>
                  <a:pt x="0" y="1119184"/>
                </a:moveTo>
                <a:lnTo>
                  <a:pt x="0" y="1647822"/>
                </a:lnTo>
                <a:cubicBezTo>
                  <a:pt x="686196" y="1947462"/>
                  <a:pt x="1196953" y="1762179"/>
                  <a:pt x="1476374" y="1464467"/>
                </a:cubicBezTo>
                <a:cubicBezTo>
                  <a:pt x="1699180" y="1227076"/>
                  <a:pt x="1674781" y="817990"/>
                  <a:pt x="1397793" y="626267"/>
                </a:cubicBezTo>
                <a:cubicBezTo>
                  <a:pt x="1228944" y="509394"/>
                  <a:pt x="1023144" y="457993"/>
                  <a:pt x="835820" y="373856"/>
                </a:cubicBezTo>
                <a:cubicBezTo>
                  <a:pt x="676275" y="325437"/>
                  <a:pt x="542926" y="112711"/>
                  <a:pt x="807244" y="0"/>
                </a:cubicBezTo>
                <a:cubicBezTo>
                  <a:pt x="507207" y="50006"/>
                  <a:pt x="440530" y="235745"/>
                  <a:pt x="421482" y="321468"/>
                </a:cubicBezTo>
                <a:cubicBezTo>
                  <a:pt x="362745" y="574674"/>
                  <a:pt x="546894" y="723107"/>
                  <a:pt x="595313" y="766762"/>
                </a:cubicBezTo>
                <a:cubicBezTo>
                  <a:pt x="664369" y="835024"/>
                  <a:pt x="857250" y="884236"/>
                  <a:pt x="923925" y="1007267"/>
                </a:cubicBezTo>
                <a:cubicBezTo>
                  <a:pt x="992188" y="1158079"/>
                  <a:pt x="883541" y="1334500"/>
                  <a:pt x="621506" y="1352547"/>
                </a:cubicBezTo>
                <a:cubicBezTo>
                  <a:pt x="455755" y="1363963"/>
                  <a:pt x="205977" y="1265235"/>
                  <a:pt x="0" y="1119184"/>
                </a:cubicBezTo>
                <a:close/>
              </a:path>
            </a:pathLst>
          </a:custGeom>
          <a:solidFill>
            <a:srgbClr val="0F238C"/>
          </a:solidFill>
          <a:ln w="127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noProof="0">
              <a:solidFill>
                <a:schemeClr val="accent1"/>
              </a:solidFill>
            </a:endParaRPr>
          </a:p>
        </p:txBody>
      </p:sp>
      <p:sp>
        <p:nvSpPr>
          <p:cNvPr id="22" name="Freeform 31"/>
          <p:cNvSpPr/>
          <p:nvPr userDrawn="1"/>
        </p:nvSpPr>
        <p:spPr>
          <a:xfrm>
            <a:off x="7284854" y="1348704"/>
            <a:ext cx="290370" cy="168163"/>
          </a:xfrm>
          <a:custGeom>
            <a:avLst/>
            <a:gdLst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13690"/>
              <a:gd name="connsiteY0" fmla="*/ 635794 h 788194"/>
              <a:gd name="connsiteX1" fmla="*/ 1402556 w 1413690"/>
              <a:gd name="connsiteY1" fmla="*/ 64294 h 788194"/>
              <a:gd name="connsiteX2" fmla="*/ 547687 w 1413690"/>
              <a:gd name="connsiteY2" fmla="*/ 0 h 788194"/>
              <a:gd name="connsiteX3" fmla="*/ 14287 w 1413690"/>
              <a:gd name="connsiteY3" fmla="*/ 469106 h 788194"/>
              <a:gd name="connsiteX4" fmla="*/ 0 w 1413690"/>
              <a:gd name="connsiteY4" fmla="*/ 788194 h 788194"/>
              <a:gd name="connsiteX5" fmla="*/ 283368 w 1413690"/>
              <a:gd name="connsiteY5" fmla="*/ 438150 h 788194"/>
              <a:gd name="connsiteX6" fmla="*/ 821531 w 1413690"/>
              <a:gd name="connsiteY6" fmla="*/ 371475 h 788194"/>
              <a:gd name="connsiteX7" fmla="*/ 1404937 w 1413690"/>
              <a:gd name="connsiteY7" fmla="*/ 635794 h 788194"/>
              <a:gd name="connsiteX0" fmla="*/ 1404937 w 1417413"/>
              <a:gd name="connsiteY0" fmla="*/ 635794 h 788194"/>
              <a:gd name="connsiteX1" fmla="*/ 1402556 w 1417413"/>
              <a:gd name="connsiteY1" fmla="*/ 64294 h 788194"/>
              <a:gd name="connsiteX2" fmla="*/ 547687 w 1417413"/>
              <a:gd name="connsiteY2" fmla="*/ 0 h 788194"/>
              <a:gd name="connsiteX3" fmla="*/ 14287 w 1417413"/>
              <a:gd name="connsiteY3" fmla="*/ 469106 h 788194"/>
              <a:gd name="connsiteX4" fmla="*/ 0 w 1417413"/>
              <a:gd name="connsiteY4" fmla="*/ 788194 h 788194"/>
              <a:gd name="connsiteX5" fmla="*/ 283368 w 1417413"/>
              <a:gd name="connsiteY5" fmla="*/ 438150 h 788194"/>
              <a:gd name="connsiteX6" fmla="*/ 821531 w 1417413"/>
              <a:gd name="connsiteY6" fmla="*/ 371475 h 788194"/>
              <a:gd name="connsiteX7" fmla="*/ 1404937 w 1417413"/>
              <a:gd name="connsiteY7" fmla="*/ 635794 h 788194"/>
              <a:gd name="connsiteX0" fmla="*/ 1404937 w 1417413"/>
              <a:gd name="connsiteY0" fmla="*/ 636458 h 788858"/>
              <a:gd name="connsiteX1" fmla="*/ 1402556 w 1417413"/>
              <a:gd name="connsiteY1" fmla="*/ 64958 h 788858"/>
              <a:gd name="connsiteX2" fmla="*/ 547687 w 1417413"/>
              <a:gd name="connsiteY2" fmla="*/ 664 h 788858"/>
              <a:gd name="connsiteX3" fmla="*/ 14287 w 1417413"/>
              <a:gd name="connsiteY3" fmla="*/ 469770 h 788858"/>
              <a:gd name="connsiteX4" fmla="*/ 0 w 1417413"/>
              <a:gd name="connsiteY4" fmla="*/ 788858 h 788858"/>
              <a:gd name="connsiteX5" fmla="*/ 283368 w 1417413"/>
              <a:gd name="connsiteY5" fmla="*/ 438814 h 788858"/>
              <a:gd name="connsiteX6" fmla="*/ 821531 w 1417413"/>
              <a:gd name="connsiteY6" fmla="*/ 372139 h 788858"/>
              <a:gd name="connsiteX7" fmla="*/ 1404937 w 1417413"/>
              <a:gd name="connsiteY7" fmla="*/ 636458 h 788858"/>
              <a:gd name="connsiteX0" fmla="*/ 1404937 w 1417413"/>
              <a:gd name="connsiteY0" fmla="*/ 659983 h 812383"/>
              <a:gd name="connsiteX1" fmla="*/ 1402556 w 1417413"/>
              <a:gd name="connsiteY1" fmla="*/ 88483 h 812383"/>
              <a:gd name="connsiteX2" fmla="*/ 547687 w 1417413"/>
              <a:gd name="connsiteY2" fmla="*/ 24189 h 812383"/>
              <a:gd name="connsiteX3" fmla="*/ 14287 w 1417413"/>
              <a:gd name="connsiteY3" fmla="*/ 493295 h 812383"/>
              <a:gd name="connsiteX4" fmla="*/ 0 w 1417413"/>
              <a:gd name="connsiteY4" fmla="*/ 812383 h 812383"/>
              <a:gd name="connsiteX5" fmla="*/ 283368 w 1417413"/>
              <a:gd name="connsiteY5" fmla="*/ 462339 h 812383"/>
              <a:gd name="connsiteX6" fmla="*/ 821531 w 1417413"/>
              <a:gd name="connsiteY6" fmla="*/ 395664 h 812383"/>
              <a:gd name="connsiteX7" fmla="*/ 1404937 w 1417413"/>
              <a:gd name="connsiteY7" fmla="*/ 659983 h 812383"/>
              <a:gd name="connsiteX0" fmla="*/ 1404937 w 1417413"/>
              <a:gd name="connsiteY0" fmla="*/ 674932 h 827332"/>
              <a:gd name="connsiteX1" fmla="*/ 1402556 w 1417413"/>
              <a:gd name="connsiteY1" fmla="*/ 103432 h 827332"/>
              <a:gd name="connsiteX2" fmla="*/ 547687 w 1417413"/>
              <a:gd name="connsiteY2" fmla="*/ 39138 h 827332"/>
              <a:gd name="connsiteX3" fmla="*/ 14287 w 1417413"/>
              <a:gd name="connsiteY3" fmla="*/ 508244 h 827332"/>
              <a:gd name="connsiteX4" fmla="*/ 0 w 1417413"/>
              <a:gd name="connsiteY4" fmla="*/ 827332 h 827332"/>
              <a:gd name="connsiteX5" fmla="*/ 283368 w 1417413"/>
              <a:gd name="connsiteY5" fmla="*/ 477288 h 827332"/>
              <a:gd name="connsiteX6" fmla="*/ 821531 w 1417413"/>
              <a:gd name="connsiteY6" fmla="*/ 410613 h 827332"/>
              <a:gd name="connsiteX7" fmla="*/ 1404937 w 1417413"/>
              <a:gd name="connsiteY7" fmla="*/ 674932 h 827332"/>
              <a:gd name="connsiteX0" fmla="*/ 1404937 w 1417413"/>
              <a:gd name="connsiteY0" fmla="*/ 674932 h 827332"/>
              <a:gd name="connsiteX1" fmla="*/ 1402556 w 1417413"/>
              <a:gd name="connsiteY1" fmla="*/ 103432 h 827332"/>
              <a:gd name="connsiteX2" fmla="*/ 547687 w 1417413"/>
              <a:gd name="connsiteY2" fmla="*/ 39138 h 827332"/>
              <a:gd name="connsiteX3" fmla="*/ 14287 w 1417413"/>
              <a:gd name="connsiteY3" fmla="*/ 508244 h 827332"/>
              <a:gd name="connsiteX4" fmla="*/ 0 w 1417413"/>
              <a:gd name="connsiteY4" fmla="*/ 827332 h 827332"/>
              <a:gd name="connsiteX5" fmla="*/ 283368 w 1417413"/>
              <a:gd name="connsiteY5" fmla="*/ 477288 h 827332"/>
              <a:gd name="connsiteX6" fmla="*/ 821531 w 1417413"/>
              <a:gd name="connsiteY6" fmla="*/ 410613 h 827332"/>
              <a:gd name="connsiteX7" fmla="*/ 1404937 w 1417413"/>
              <a:gd name="connsiteY7" fmla="*/ 674932 h 827332"/>
              <a:gd name="connsiteX0" fmla="*/ 1406804 w 1419280"/>
              <a:gd name="connsiteY0" fmla="*/ 674932 h 827332"/>
              <a:gd name="connsiteX1" fmla="*/ 1404423 w 1419280"/>
              <a:gd name="connsiteY1" fmla="*/ 103432 h 827332"/>
              <a:gd name="connsiteX2" fmla="*/ 549554 w 1419280"/>
              <a:gd name="connsiteY2" fmla="*/ 39138 h 827332"/>
              <a:gd name="connsiteX3" fmla="*/ 16154 w 1419280"/>
              <a:gd name="connsiteY3" fmla="*/ 508244 h 827332"/>
              <a:gd name="connsiteX4" fmla="*/ 1867 w 1419280"/>
              <a:gd name="connsiteY4" fmla="*/ 827332 h 827332"/>
              <a:gd name="connsiteX5" fmla="*/ 285235 w 1419280"/>
              <a:gd name="connsiteY5" fmla="*/ 477288 h 827332"/>
              <a:gd name="connsiteX6" fmla="*/ 823398 w 1419280"/>
              <a:gd name="connsiteY6" fmla="*/ 410613 h 827332"/>
              <a:gd name="connsiteX7" fmla="*/ 1406804 w 1419280"/>
              <a:gd name="connsiteY7" fmla="*/ 674932 h 827332"/>
              <a:gd name="connsiteX0" fmla="*/ 1409119 w 1421595"/>
              <a:gd name="connsiteY0" fmla="*/ 674932 h 827332"/>
              <a:gd name="connsiteX1" fmla="*/ 1406738 w 1421595"/>
              <a:gd name="connsiteY1" fmla="*/ 103432 h 827332"/>
              <a:gd name="connsiteX2" fmla="*/ 551869 w 1421595"/>
              <a:gd name="connsiteY2" fmla="*/ 39138 h 827332"/>
              <a:gd name="connsiteX3" fmla="*/ 18469 w 1421595"/>
              <a:gd name="connsiteY3" fmla="*/ 508244 h 827332"/>
              <a:gd name="connsiteX4" fmla="*/ 4182 w 1421595"/>
              <a:gd name="connsiteY4" fmla="*/ 827332 h 827332"/>
              <a:gd name="connsiteX5" fmla="*/ 287550 w 1421595"/>
              <a:gd name="connsiteY5" fmla="*/ 477288 h 827332"/>
              <a:gd name="connsiteX6" fmla="*/ 825713 w 1421595"/>
              <a:gd name="connsiteY6" fmla="*/ 410613 h 827332"/>
              <a:gd name="connsiteX7" fmla="*/ 1409119 w 1421595"/>
              <a:gd name="connsiteY7" fmla="*/ 674932 h 827332"/>
              <a:gd name="connsiteX0" fmla="*/ 1417088 w 1429564"/>
              <a:gd name="connsiteY0" fmla="*/ 674932 h 827332"/>
              <a:gd name="connsiteX1" fmla="*/ 1414707 w 1429564"/>
              <a:gd name="connsiteY1" fmla="*/ 103432 h 827332"/>
              <a:gd name="connsiteX2" fmla="*/ 559838 w 1429564"/>
              <a:gd name="connsiteY2" fmla="*/ 39138 h 827332"/>
              <a:gd name="connsiteX3" fmla="*/ 26438 w 1429564"/>
              <a:gd name="connsiteY3" fmla="*/ 508244 h 827332"/>
              <a:gd name="connsiteX4" fmla="*/ 12151 w 1429564"/>
              <a:gd name="connsiteY4" fmla="*/ 827332 h 827332"/>
              <a:gd name="connsiteX5" fmla="*/ 295519 w 1429564"/>
              <a:gd name="connsiteY5" fmla="*/ 477288 h 827332"/>
              <a:gd name="connsiteX6" fmla="*/ 833682 w 1429564"/>
              <a:gd name="connsiteY6" fmla="*/ 410613 h 827332"/>
              <a:gd name="connsiteX7" fmla="*/ 1417088 w 1429564"/>
              <a:gd name="connsiteY7" fmla="*/ 674932 h 827332"/>
              <a:gd name="connsiteX0" fmla="*/ 1417088 w 1429564"/>
              <a:gd name="connsiteY0" fmla="*/ 674932 h 827332"/>
              <a:gd name="connsiteX1" fmla="*/ 1414707 w 1429564"/>
              <a:gd name="connsiteY1" fmla="*/ 103432 h 827332"/>
              <a:gd name="connsiteX2" fmla="*/ 559838 w 1429564"/>
              <a:gd name="connsiteY2" fmla="*/ 39138 h 827332"/>
              <a:gd name="connsiteX3" fmla="*/ 26438 w 1429564"/>
              <a:gd name="connsiteY3" fmla="*/ 508244 h 827332"/>
              <a:gd name="connsiteX4" fmla="*/ 12151 w 1429564"/>
              <a:gd name="connsiteY4" fmla="*/ 827332 h 827332"/>
              <a:gd name="connsiteX5" fmla="*/ 295519 w 1429564"/>
              <a:gd name="connsiteY5" fmla="*/ 477288 h 827332"/>
              <a:gd name="connsiteX6" fmla="*/ 833682 w 1429564"/>
              <a:gd name="connsiteY6" fmla="*/ 410613 h 827332"/>
              <a:gd name="connsiteX7" fmla="*/ 1417088 w 1429564"/>
              <a:gd name="connsiteY7" fmla="*/ 674932 h 827332"/>
              <a:gd name="connsiteX0" fmla="*/ 1417088 w 1428573"/>
              <a:gd name="connsiteY0" fmla="*/ 674932 h 827332"/>
              <a:gd name="connsiteX1" fmla="*/ 1414707 w 1428573"/>
              <a:gd name="connsiteY1" fmla="*/ 103432 h 827332"/>
              <a:gd name="connsiteX2" fmla="*/ 559838 w 1428573"/>
              <a:gd name="connsiteY2" fmla="*/ 39138 h 827332"/>
              <a:gd name="connsiteX3" fmla="*/ 26438 w 1428573"/>
              <a:gd name="connsiteY3" fmla="*/ 508244 h 827332"/>
              <a:gd name="connsiteX4" fmla="*/ 12151 w 1428573"/>
              <a:gd name="connsiteY4" fmla="*/ 827332 h 827332"/>
              <a:gd name="connsiteX5" fmla="*/ 295519 w 1428573"/>
              <a:gd name="connsiteY5" fmla="*/ 477288 h 827332"/>
              <a:gd name="connsiteX6" fmla="*/ 833682 w 1428573"/>
              <a:gd name="connsiteY6" fmla="*/ 410613 h 827332"/>
              <a:gd name="connsiteX7" fmla="*/ 1417088 w 1428573"/>
              <a:gd name="connsiteY7" fmla="*/ 674932 h 827332"/>
              <a:gd name="connsiteX0" fmla="*/ 1417088 w 1428573"/>
              <a:gd name="connsiteY0" fmla="*/ 674932 h 827332"/>
              <a:gd name="connsiteX1" fmla="*/ 1414707 w 1428573"/>
              <a:gd name="connsiteY1" fmla="*/ 103432 h 827332"/>
              <a:gd name="connsiteX2" fmla="*/ 559838 w 1428573"/>
              <a:gd name="connsiteY2" fmla="*/ 39138 h 827332"/>
              <a:gd name="connsiteX3" fmla="*/ 26438 w 1428573"/>
              <a:gd name="connsiteY3" fmla="*/ 508244 h 827332"/>
              <a:gd name="connsiteX4" fmla="*/ 12151 w 1428573"/>
              <a:gd name="connsiteY4" fmla="*/ 827332 h 827332"/>
              <a:gd name="connsiteX5" fmla="*/ 295519 w 1428573"/>
              <a:gd name="connsiteY5" fmla="*/ 477288 h 827332"/>
              <a:gd name="connsiteX6" fmla="*/ 833682 w 1428573"/>
              <a:gd name="connsiteY6" fmla="*/ 410613 h 827332"/>
              <a:gd name="connsiteX7" fmla="*/ 1417088 w 1428573"/>
              <a:gd name="connsiteY7" fmla="*/ 674932 h 827332"/>
              <a:gd name="connsiteX0" fmla="*/ 1420075 w 1431560"/>
              <a:gd name="connsiteY0" fmla="*/ 674932 h 827332"/>
              <a:gd name="connsiteX1" fmla="*/ 1417694 w 1431560"/>
              <a:gd name="connsiteY1" fmla="*/ 103432 h 827332"/>
              <a:gd name="connsiteX2" fmla="*/ 562825 w 1431560"/>
              <a:gd name="connsiteY2" fmla="*/ 39138 h 827332"/>
              <a:gd name="connsiteX3" fmla="*/ 29425 w 1431560"/>
              <a:gd name="connsiteY3" fmla="*/ 508244 h 827332"/>
              <a:gd name="connsiteX4" fmla="*/ 15138 w 1431560"/>
              <a:gd name="connsiteY4" fmla="*/ 827332 h 827332"/>
              <a:gd name="connsiteX5" fmla="*/ 298506 w 1431560"/>
              <a:gd name="connsiteY5" fmla="*/ 477288 h 827332"/>
              <a:gd name="connsiteX6" fmla="*/ 836669 w 1431560"/>
              <a:gd name="connsiteY6" fmla="*/ 410613 h 827332"/>
              <a:gd name="connsiteX7" fmla="*/ 1420075 w 1431560"/>
              <a:gd name="connsiteY7" fmla="*/ 674932 h 827332"/>
              <a:gd name="connsiteX0" fmla="*/ 1420075 w 1431560"/>
              <a:gd name="connsiteY0" fmla="*/ 674932 h 827332"/>
              <a:gd name="connsiteX1" fmla="*/ 1417694 w 1431560"/>
              <a:gd name="connsiteY1" fmla="*/ 103432 h 827332"/>
              <a:gd name="connsiteX2" fmla="*/ 562825 w 1431560"/>
              <a:gd name="connsiteY2" fmla="*/ 39138 h 827332"/>
              <a:gd name="connsiteX3" fmla="*/ 29425 w 1431560"/>
              <a:gd name="connsiteY3" fmla="*/ 508244 h 827332"/>
              <a:gd name="connsiteX4" fmla="*/ 15138 w 1431560"/>
              <a:gd name="connsiteY4" fmla="*/ 827332 h 827332"/>
              <a:gd name="connsiteX5" fmla="*/ 298506 w 1431560"/>
              <a:gd name="connsiteY5" fmla="*/ 477288 h 827332"/>
              <a:gd name="connsiteX6" fmla="*/ 836669 w 1431560"/>
              <a:gd name="connsiteY6" fmla="*/ 410613 h 827332"/>
              <a:gd name="connsiteX7" fmla="*/ 1420075 w 1431560"/>
              <a:gd name="connsiteY7" fmla="*/ 674932 h 827332"/>
              <a:gd name="connsiteX0" fmla="*/ 1417089 w 1428574"/>
              <a:gd name="connsiteY0" fmla="*/ 674932 h 827332"/>
              <a:gd name="connsiteX1" fmla="*/ 1414708 w 1428574"/>
              <a:gd name="connsiteY1" fmla="*/ 103432 h 827332"/>
              <a:gd name="connsiteX2" fmla="*/ 559839 w 1428574"/>
              <a:gd name="connsiteY2" fmla="*/ 39138 h 827332"/>
              <a:gd name="connsiteX3" fmla="*/ 26439 w 1428574"/>
              <a:gd name="connsiteY3" fmla="*/ 508244 h 827332"/>
              <a:gd name="connsiteX4" fmla="*/ 12152 w 1428574"/>
              <a:gd name="connsiteY4" fmla="*/ 827332 h 827332"/>
              <a:gd name="connsiteX5" fmla="*/ 295520 w 1428574"/>
              <a:gd name="connsiteY5" fmla="*/ 477288 h 827332"/>
              <a:gd name="connsiteX6" fmla="*/ 833683 w 1428574"/>
              <a:gd name="connsiteY6" fmla="*/ 410613 h 827332"/>
              <a:gd name="connsiteX7" fmla="*/ 1417089 w 1428574"/>
              <a:gd name="connsiteY7" fmla="*/ 674932 h 827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28574" h="827332">
                <a:moveTo>
                  <a:pt x="1417089" y="674932"/>
                </a:moveTo>
                <a:cubicBezTo>
                  <a:pt x="1435346" y="448714"/>
                  <a:pt x="1429789" y="289169"/>
                  <a:pt x="1414708" y="103432"/>
                </a:cubicBezTo>
                <a:cubicBezTo>
                  <a:pt x="1129752" y="1038"/>
                  <a:pt x="880514" y="-34681"/>
                  <a:pt x="559839" y="39138"/>
                </a:cubicBezTo>
                <a:cubicBezTo>
                  <a:pt x="324968" y="93205"/>
                  <a:pt x="103590" y="255487"/>
                  <a:pt x="26439" y="508244"/>
                </a:cubicBezTo>
                <a:cubicBezTo>
                  <a:pt x="-7732" y="620193"/>
                  <a:pt x="-4518" y="728112"/>
                  <a:pt x="12152" y="827332"/>
                </a:cubicBezTo>
                <a:cubicBezTo>
                  <a:pt x="28424" y="650723"/>
                  <a:pt x="130471" y="560134"/>
                  <a:pt x="295520" y="477288"/>
                </a:cubicBezTo>
                <a:cubicBezTo>
                  <a:pt x="460084" y="394686"/>
                  <a:pt x="654458" y="387116"/>
                  <a:pt x="833683" y="410613"/>
                </a:cubicBezTo>
                <a:cubicBezTo>
                  <a:pt x="1142452" y="451094"/>
                  <a:pt x="1298820" y="584445"/>
                  <a:pt x="1417089" y="674932"/>
                </a:cubicBezTo>
                <a:close/>
              </a:path>
            </a:pathLst>
          </a:custGeom>
          <a:solidFill>
            <a:srgbClr val="0F238C"/>
          </a:solidFill>
          <a:ln w="127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noProof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29094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ML Chapter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97280" y="2011680"/>
            <a:ext cx="4572000" cy="43088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2800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noProof="0"/>
              <a:t>Chapter item</a:t>
            </a:r>
          </a:p>
        </p:txBody>
      </p:sp>
      <p:sp>
        <p:nvSpPr>
          <p:cNvPr id="25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8251200" y="774000"/>
            <a:ext cx="7524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ts val="700"/>
              </a:lnSpc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&lt;Date&gt;</a:t>
            </a:r>
          </a:p>
        </p:txBody>
      </p:sp>
      <p:sp>
        <p:nvSpPr>
          <p:cNvPr id="2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8251200" y="644400"/>
            <a:ext cx="7524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ts val="800"/>
              </a:lnSpc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Slide </a:t>
            </a:r>
            <a:fld id="{1D9B13CD-33A0-446D-8703-F89F9F109F5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17">
            <a:extLst>
              <a:ext uri="{FF2B5EF4-FFF2-40B4-BE49-F238E27FC236}">
                <a16:creationId xmlns:a16="http://schemas.microsoft.com/office/drawing/2014/main" id="{E03B2A18-5CB7-4DD0-ACD9-26D753FC0D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152" r="9151"/>
          <a:stretch/>
        </p:blipFill>
        <p:spPr>
          <a:xfrm>
            <a:off x="8097108" y="0"/>
            <a:ext cx="155122" cy="5143500"/>
          </a:xfrm>
          <a:prstGeom prst="rect">
            <a:avLst/>
          </a:prstGeom>
        </p:spPr>
      </p:pic>
      <p:grpSp>
        <p:nvGrpSpPr>
          <p:cNvPr id="7" name="Groep 24">
            <a:extLst>
              <a:ext uri="{FF2B5EF4-FFF2-40B4-BE49-F238E27FC236}">
                <a16:creationId xmlns:a16="http://schemas.microsoft.com/office/drawing/2014/main" id="{0FB52295-9CDE-45FC-BAE9-D4C8A7675EBD}"/>
              </a:ext>
            </a:extLst>
          </p:cNvPr>
          <p:cNvGrpSpPr/>
          <p:nvPr userDrawn="1"/>
        </p:nvGrpSpPr>
        <p:grpSpPr>
          <a:xfrm>
            <a:off x="8320087" y="214534"/>
            <a:ext cx="684118" cy="191810"/>
            <a:chOff x="8320087" y="159540"/>
            <a:chExt cx="684118" cy="191810"/>
          </a:xfrm>
        </p:grpSpPr>
        <p:sp>
          <p:nvSpPr>
            <p:cNvPr id="8" name="Freeform 30">
              <a:extLst>
                <a:ext uri="{FF2B5EF4-FFF2-40B4-BE49-F238E27FC236}">
                  <a16:creationId xmlns:a16="http://schemas.microsoft.com/office/drawing/2014/main" id="{18CA52CE-11C0-4E22-8AEC-C536A8DC8AA6}"/>
                </a:ext>
              </a:extLst>
            </p:cNvPr>
            <p:cNvSpPr/>
            <p:nvPr userDrawn="1"/>
          </p:nvSpPr>
          <p:spPr>
            <a:xfrm>
              <a:off x="8320087" y="164783"/>
              <a:ext cx="170905" cy="182992"/>
            </a:xfrm>
            <a:custGeom>
              <a:avLst/>
              <a:gdLst>
                <a:gd name="connsiteX0" fmla="*/ 0 w 1097756"/>
                <a:gd name="connsiteY0" fmla="*/ 0 h 1181100"/>
                <a:gd name="connsiteX1" fmla="*/ 745331 w 1097756"/>
                <a:gd name="connsiteY1" fmla="*/ 0 h 1181100"/>
                <a:gd name="connsiteX2" fmla="*/ 1097756 w 1097756"/>
                <a:gd name="connsiteY2" fmla="*/ 1178718 h 1181100"/>
                <a:gd name="connsiteX3" fmla="*/ 523875 w 1097756"/>
                <a:gd name="connsiteY3" fmla="*/ 1181100 h 1181100"/>
                <a:gd name="connsiteX4" fmla="*/ 0 w 1097756"/>
                <a:gd name="connsiteY4" fmla="*/ 0 h 1181100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523875 w 1400175"/>
                <a:gd name="connsiteY3" fmla="*/ 1181100 h 2197893"/>
                <a:gd name="connsiteX4" fmla="*/ 0 w 1400175"/>
                <a:gd name="connsiteY4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1047750 w 1400175"/>
                <a:gd name="connsiteY3" fmla="*/ 1790700 h 2197893"/>
                <a:gd name="connsiteX4" fmla="*/ 523875 w 1400175"/>
                <a:gd name="connsiteY4" fmla="*/ 1181100 h 2197893"/>
                <a:gd name="connsiteX5" fmla="*/ 0 w 1400175"/>
                <a:gd name="connsiteY5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50094 w 1400175"/>
                <a:gd name="connsiteY3" fmla="*/ 2193131 h 2197893"/>
                <a:gd name="connsiteX4" fmla="*/ 523875 w 1400175"/>
                <a:gd name="connsiteY4" fmla="*/ 1181100 h 2197893"/>
                <a:gd name="connsiteX5" fmla="*/ 0 w 1400175"/>
                <a:gd name="connsiteY5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523875 w 1400175"/>
                <a:gd name="connsiteY4" fmla="*/ 1181100 h 2197893"/>
                <a:gd name="connsiteX5" fmla="*/ 0 w 1400175"/>
                <a:gd name="connsiteY5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0 w 1400175"/>
                <a:gd name="connsiteY5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230981 w 1400175"/>
                <a:gd name="connsiteY5" fmla="*/ 295275 h 2197893"/>
                <a:gd name="connsiteX6" fmla="*/ 0 w 1400175"/>
                <a:gd name="connsiteY6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195262 w 1400175"/>
                <a:gd name="connsiteY5" fmla="*/ 1204913 h 2197893"/>
                <a:gd name="connsiteX6" fmla="*/ 0 w 1400175"/>
                <a:gd name="connsiteY6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173830 w 1400175"/>
                <a:gd name="connsiteY5" fmla="*/ 1383507 h 2197893"/>
                <a:gd name="connsiteX6" fmla="*/ 0 w 1400175"/>
                <a:gd name="connsiteY6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173830 w 1400175"/>
                <a:gd name="connsiteY5" fmla="*/ 1383507 h 2197893"/>
                <a:gd name="connsiteX6" fmla="*/ 135731 w 1400175"/>
                <a:gd name="connsiteY6" fmla="*/ 1102518 h 2197893"/>
                <a:gd name="connsiteX7" fmla="*/ 0 w 1400175"/>
                <a:gd name="connsiteY7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173830 w 1400175"/>
                <a:gd name="connsiteY5" fmla="*/ 1383507 h 2197893"/>
                <a:gd name="connsiteX6" fmla="*/ 609600 w 1400175"/>
                <a:gd name="connsiteY6" fmla="*/ 1385887 h 2197893"/>
                <a:gd name="connsiteX7" fmla="*/ 0 w 1400175"/>
                <a:gd name="connsiteY7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173830 w 1400175"/>
                <a:gd name="connsiteY5" fmla="*/ 1383507 h 2197893"/>
                <a:gd name="connsiteX6" fmla="*/ 609600 w 1400175"/>
                <a:gd name="connsiteY6" fmla="*/ 1385887 h 2197893"/>
                <a:gd name="connsiteX7" fmla="*/ 378619 w 1400175"/>
                <a:gd name="connsiteY7" fmla="*/ 862012 h 2197893"/>
                <a:gd name="connsiteX8" fmla="*/ 0 w 1400175"/>
                <a:gd name="connsiteY8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173830 w 1400175"/>
                <a:gd name="connsiteY5" fmla="*/ 1383507 h 2197893"/>
                <a:gd name="connsiteX6" fmla="*/ 609600 w 1400175"/>
                <a:gd name="connsiteY6" fmla="*/ 1385887 h 2197893"/>
                <a:gd name="connsiteX7" fmla="*/ 692944 w 1400175"/>
                <a:gd name="connsiteY7" fmla="*/ 1797843 h 2197893"/>
                <a:gd name="connsiteX8" fmla="*/ 0 w 1400175"/>
                <a:gd name="connsiteY8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173830 w 1400175"/>
                <a:gd name="connsiteY5" fmla="*/ 1383507 h 2197893"/>
                <a:gd name="connsiteX6" fmla="*/ 609600 w 1400175"/>
                <a:gd name="connsiteY6" fmla="*/ 1385887 h 2197893"/>
                <a:gd name="connsiteX7" fmla="*/ 692944 w 1400175"/>
                <a:gd name="connsiteY7" fmla="*/ 1797843 h 2197893"/>
                <a:gd name="connsiteX8" fmla="*/ 426244 w 1400175"/>
                <a:gd name="connsiteY8" fmla="*/ 1112043 h 2197893"/>
                <a:gd name="connsiteX9" fmla="*/ 0 w 1400175"/>
                <a:gd name="connsiteY9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173830 w 1400175"/>
                <a:gd name="connsiteY5" fmla="*/ 1383507 h 2197893"/>
                <a:gd name="connsiteX6" fmla="*/ 609600 w 1400175"/>
                <a:gd name="connsiteY6" fmla="*/ 1385887 h 2197893"/>
                <a:gd name="connsiteX7" fmla="*/ 692944 w 1400175"/>
                <a:gd name="connsiteY7" fmla="*/ 1797843 h 2197893"/>
                <a:gd name="connsiteX8" fmla="*/ 88106 w 1400175"/>
                <a:gd name="connsiteY8" fmla="*/ 1795462 h 2197893"/>
                <a:gd name="connsiteX9" fmla="*/ 0 w 1400175"/>
                <a:gd name="connsiteY9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173830 w 1400175"/>
                <a:gd name="connsiteY5" fmla="*/ 1383507 h 2197893"/>
                <a:gd name="connsiteX6" fmla="*/ 609600 w 1400175"/>
                <a:gd name="connsiteY6" fmla="*/ 1385887 h 2197893"/>
                <a:gd name="connsiteX7" fmla="*/ 692944 w 1400175"/>
                <a:gd name="connsiteY7" fmla="*/ 1797843 h 2197893"/>
                <a:gd name="connsiteX8" fmla="*/ 88106 w 1400175"/>
                <a:gd name="connsiteY8" fmla="*/ 1795462 h 2197893"/>
                <a:gd name="connsiteX9" fmla="*/ 52388 w 1400175"/>
                <a:gd name="connsiteY9" fmla="*/ 1131093 h 2197893"/>
                <a:gd name="connsiteX10" fmla="*/ 0 w 1400175"/>
                <a:gd name="connsiteY10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173830 w 1400175"/>
                <a:gd name="connsiteY5" fmla="*/ 1383507 h 2197893"/>
                <a:gd name="connsiteX6" fmla="*/ 609600 w 1400175"/>
                <a:gd name="connsiteY6" fmla="*/ 1385887 h 2197893"/>
                <a:gd name="connsiteX7" fmla="*/ 692944 w 1400175"/>
                <a:gd name="connsiteY7" fmla="*/ 1797843 h 2197893"/>
                <a:gd name="connsiteX8" fmla="*/ 88106 w 1400175"/>
                <a:gd name="connsiteY8" fmla="*/ 1795462 h 2197893"/>
                <a:gd name="connsiteX9" fmla="*/ 0 w 1400175"/>
                <a:gd name="connsiteY9" fmla="*/ 2197893 h 2197893"/>
                <a:gd name="connsiteX10" fmla="*/ 0 w 1400175"/>
                <a:gd name="connsiteY10" fmla="*/ 0 h 2197893"/>
                <a:gd name="connsiteX0" fmla="*/ 4762 w 1404937"/>
                <a:gd name="connsiteY0" fmla="*/ 0 h 2197893"/>
                <a:gd name="connsiteX1" fmla="*/ 750093 w 1404937"/>
                <a:gd name="connsiteY1" fmla="*/ 0 h 2197893"/>
                <a:gd name="connsiteX2" fmla="*/ 1404937 w 1404937"/>
                <a:gd name="connsiteY2" fmla="*/ 2197893 h 2197893"/>
                <a:gd name="connsiteX3" fmla="*/ 752475 w 1404937"/>
                <a:gd name="connsiteY3" fmla="*/ 2195512 h 2197893"/>
                <a:gd name="connsiteX4" fmla="*/ 376237 w 1404937"/>
                <a:gd name="connsiteY4" fmla="*/ 478631 h 2197893"/>
                <a:gd name="connsiteX5" fmla="*/ 178592 w 1404937"/>
                <a:gd name="connsiteY5" fmla="*/ 1383507 h 2197893"/>
                <a:gd name="connsiteX6" fmla="*/ 614362 w 1404937"/>
                <a:gd name="connsiteY6" fmla="*/ 1385887 h 2197893"/>
                <a:gd name="connsiteX7" fmla="*/ 697706 w 1404937"/>
                <a:gd name="connsiteY7" fmla="*/ 1797843 h 2197893"/>
                <a:gd name="connsiteX8" fmla="*/ 92868 w 1404937"/>
                <a:gd name="connsiteY8" fmla="*/ 1795462 h 2197893"/>
                <a:gd name="connsiteX9" fmla="*/ 4762 w 1404937"/>
                <a:gd name="connsiteY9" fmla="*/ 2197893 h 2197893"/>
                <a:gd name="connsiteX10" fmla="*/ 0 w 1404937"/>
                <a:gd name="connsiteY10" fmla="*/ 2045493 h 2197893"/>
                <a:gd name="connsiteX11" fmla="*/ 4762 w 1404937"/>
                <a:gd name="connsiteY11" fmla="*/ 0 h 2197893"/>
                <a:gd name="connsiteX0" fmla="*/ 652462 w 2052637"/>
                <a:gd name="connsiteY0" fmla="*/ 0 h 2197893"/>
                <a:gd name="connsiteX1" fmla="*/ 1397793 w 2052637"/>
                <a:gd name="connsiteY1" fmla="*/ 0 h 2197893"/>
                <a:gd name="connsiteX2" fmla="*/ 2052637 w 2052637"/>
                <a:gd name="connsiteY2" fmla="*/ 2197893 h 2197893"/>
                <a:gd name="connsiteX3" fmla="*/ 1400175 w 2052637"/>
                <a:gd name="connsiteY3" fmla="*/ 2195512 h 2197893"/>
                <a:gd name="connsiteX4" fmla="*/ 1023937 w 2052637"/>
                <a:gd name="connsiteY4" fmla="*/ 478631 h 2197893"/>
                <a:gd name="connsiteX5" fmla="*/ 826292 w 2052637"/>
                <a:gd name="connsiteY5" fmla="*/ 1383507 h 2197893"/>
                <a:gd name="connsiteX6" fmla="*/ 1262062 w 2052637"/>
                <a:gd name="connsiteY6" fmla="*/ 1385887 h 2197893"/>
                <a:gd name="connsiteX7" fmla="*/ 1345406 w 2052637"/>
                <a:gd name="connsiteY7" fmla="*/ 1797843 h 2197893"/>
                <a:gd name="connsiteX8" fmla="*/ 740568 w 2052637"/>
                <a:gd name="connsiteY8" fmla="*/ 1795462 h 2197893"/>
                <a:gd name="connsiteX9" fmla="*/ 652462 w 2052637"/>
                <a:gd name="connsiteY9" fmla="*/ 2197893 h 2197893"/>
                <a:gd name="connsiteX10" fmla="*/ 0 w 2052637"/>
                <a:gd name="connsiteY10" fmla="*/ 2193131 h 2197893"/>
                <a:gd name="connsiteX11" fmla="*/ 652462 w 2052637"/>
                <a:gd name="connsiteY11" fmla="*/ 0 h 2197893"/>
                <a:gd name="connsiteX0" fmla="*/ 652462 w 2052637"/>
                <a:gd name="connsiteY0" fmla="*/ 1 h 2197894"/>
                <a:gd name="connsiteX1" fmla="*/ 1397793 w 2052637"/>
                <a:gd name="connsiteY1" fmla="*/ 1 h 2197894"/>
                <a:gd name="connsiteX2" fmla="*/ 2052637 w 2052637"/>
                <a:gd name="connsiteY2" fmla="*/ 2197894 h 2197894"/>
                <a:gd name="connsiteX3" fmla="*/ 1400175 w 2052637"/>
                <a:gd name="connsiteY3" fmla="*/ 2195513 h 2197894"/>
                <a:gd name="connsiteX4" fmla="*/ 1023937 w 2052637"/>
                <a:gd name="connsiteY4" fmla="*/ 478632 h 2197894"/>
                <a:gd name="connsiteX5" fmla="*/ 826292 w 2052637"/>
                <a:gd name="connsiteY5" fmla="*/ 1383508 h 2197894"/>
                <a:gd name="connsiteX6" fmla="*/ 1262062 w 2052637"/>
                <a:gd name="connsiteY6" fmla="*/ 1385888 h 2197894"/>
                <a:gd name="connsiteX7" fmla="*/ 1345406 w 2052637"/>
                <a:gd name="connsiteY7" fmla="*/ 1797844 h 2197894"/>
                <a:gd name="connsiteX8" fmla="*/ 740568 w 2052637"/>
                <a:gd name="connsiteY8" fmla="*/ 1795463 h 2197894"/>
                <a:gd name="connsiteX9" fmla="*/ 652462 w 2052637"/>
                <a:gd name="connsiteY9" fmla="*/ 2197894 h 2197894"/>
                <a:gd name="connsiteX10" fmla="*/ 0 w 2052637"/>
                <a:gd name="connsiteY10" fmla="*/ 2193132 h 2197894"/>
                <a:gd name="connsiteX11" fmla="*/ 652462 w 2052637"/>
                <a:gd name="connsiteY11" fmla="*/ 1 h 2197894"/>
                <a:gd name="connsiteX0" fmla="*/ 652533 w 2052708"/>
                <a:gd name="connsiteY0" fmla="*/ 1 h 2197894"/>
                <a:gd name="connsiteX1" fmla="*/ 1397864 w 2052708"/>
                <a:gd name="connsiteY1" fmla="*/ 1 h 2197894"/>
                <a:gd name="connsiteX2" fmla="*/ 2052708 w 2052708"/>
                <a:gd name="connsiteY2" fmla="*/ 2197894 h 2197894"/>
                <a:gd name="connsiteX3" fmla="*/ 1400246 w 2052708"/>
                <a:gd name="connsiteY3" fmla="*/ 2195513 h 2197894"/>
                <a:gd name="connsiteX4" fmla="*/ 1024008 w 2052708"/>
                <a:gd name="connsiteY4" fmla="*/ 478632 h 2197894"/>
                <a:gd name="connsiteX5" fmla="*/ 826363 w 2052708"/>
                <a:gd name="connsiteY5" fmla="*/ 1383508 h 2197894"/>
                <a:gd name="connsiteX6" fmla="*/ 1262133 w 2052708"/>
                <a:gd name="connsiteY6" fmla="*/ 1385888 h 2197894"/>
                <a:gd name="connsiteX7" fmla="*/ 1345477 w 2052708"/>
                <a:gd name="connsiteY7" fmla="*/ 1797844 h 2197894"/>
                <a:gd name="connsiteX8" fmla="*/ 740639 w 2052708"/>
                <a:gd name="connsiteY8" fmla="*/ 1795463 h 2197894"/>
                <a:gd name="connsiteX9" fmla="*/ 652533 w 2052708"/>
                <a:gd name="connsiteY9" fmla="*/ 2197894 h 2197894"/>
                <a:gd name="connsiteX10" fmla="*/ 71 w 2052708"/>
                <a:gd name="connsiteY10" fmla="*/ 2193132 h 2197894"/>
                <a:gd name="connsiteX11" fmla="*/ 652533 w 2052708"/>
                <a:gd name="connsiteY11" fmla="*/ 1 h 2197894"/>
                <a:gd name="connsiteX0" fmla="*/ 652533 w 2052708"/>
                <a:gd name="connsiteY0" fmla="*/ 1 h 2197894"/>
                <a:gd name="connsiteX1" fmla="*/ 1397864 w 2052708"/>
                <a:gd name="connsiteY1" fmla="*/ 1 h 2197894"/>
                <a:gd name="connsiteX2" fmla="*/ 2052708 w 2052708"/>
                <a:gd name="connsiteY2" fmla="*/ 2197894 h 2197894"/>
                <a:gd name="connsiteX3" fmla="*/ 1400246 w 2052708"/>
                <a:gd name="connsiteY3" fmla="*/ 2195513 h 2197894"/>
                <a:gd name="connsiteX4" fmla="*/ 1024008 w 2052708"/>
                <a:gd name="connsiteY4" fmla="*/ 478632 h 2197894"/>
                <a:gd name="connsiteX5" fmla="*/ 826363 w 2052708"/>
                <a:gd name="connsiteY5" fmla="*/ 1383508 h 2197894"/>
                <a:gd name="connsiteX6" fmla="*/ 1214508 w 2052708"/>
                <a:gd name="connsiteY6" fmla="*/ 1383506 h 2197894"/>
                <a:gd name="connsiteX7" fmla="*/ 1345477 w 2052708"/>
                <a:gd name="connsiteY7" fmla="*/ 1797844 h 2197894"/>
                <a:gd name="connsiteX8" fmla="*/ 740639 w 2052708"/>
                <a:gd name="connsiteY8" fmla="*/ 1795463 h 2197894"/>
                <a:gd name="connsiteX9" fmla="*/ 652533 w 2052708"/>
                <a:gd name="connsiteY9" fmla="*/ 2197894 h 2197894"/>
                <a:gd name="connsiteX10" fmla="*/ 71 w 2052708"/>
                <a:gd name="connsiteY10" fmla="*/ 2193132 h 2197894"/>
                <a:gd name="connsiteX11" fmla="*/ 652533 w 2052708"/>
                <a:gd name="connsiteY11" fmla="*/ 1 h 2197894"/>
                <a:gd name="connsiteX0" fmla="*/ 652533 w 2052708"/>
                <a:gd name="connsiteY0" fmla="*/ 1 h 2197894"/>
                <a:gd name="connsiteX1" fmla="*/ 1397864 w 2052708"/>
                <a:gd name="connsiteY1" fmla="*/ 1 h 2197894"/>
                <a:gd name="connsiteX2" fmla="*/ 2052708 w 2052708"/>
                <a:gd name="connsiteY2" fmla="*/ 2197894 h 2197894"/>
                <a:gd name="connsiteX3" fmla="*/ 1400246 w 2052708"/>
                <a:gd name="connsiteY3" fmla="*/ 2195513 h 2197894"/>
                <a:gd name="connsiteX4" fmla="*/ 1024008 w 2052708"/>
                <a:gd name="connsiteY4" fmla="*/ 478632 h 2197894"/>
                <a:gd name="connsiteX5" fmla="*/ 826363 w 2052708"/>
                <a:gd name="connsiteY5" fmla="*/ 1383508 h 2197894"/>
                <a:gd name="connsiteX6" fmla="*/ 1214508 w 2052708"/>
                <a:gd name="connsiteY6" fmla="*/ 1383506 h 2197894"/>
                <a:gd name="connsiteX7" fmla="*/ 1312139 w 2052708"/>
                <a:gd name="connsiteY7" fmla="*/ 1797844 h 2197894"/>
                <a:gd name="connsiteX8" fmla="*/ 740639 w 2052708"/>
                <a:gd name="connsiteY8" fmla="*/ 1795463 h 2197894"/>
                <a:gd name="connsiteX9" fmla="*/ 652533 w 2052708"/>
                <a:gd name="connsiteY9" fmla="*/ 2197894 h 2197894"/>
                <a:gd name="connsiteX10" fmla="*/ 71 w 2052708"/>
                <a:gd name="connsiteY10" fmla="*/ 2193132 h 2197894"/>
                <a:gd name="connsiteX11" fmla="*/ 652533 w 2052708"/>
                <a:gd name="connsiteY11" fmla="*/ 1 h 2197894"/>
                <a:gd name="connsiteX0" fmla="*/ 652533 w 2052708"/>
                <a:gd name="connsiteY0" fmla="*/ 1 h 2197894"/>
                <a:gd name="connsiteX1" fmla="*/ 1397864 w 2052708"/>
                <a:gd name="connsiteY1" fmla="*/ 1 h 2197894"/>
                <a:gd name="connsiteX2" fmla="*/ 2052708 w 2052708"/>
                <a:gd name="connsiteY2" fmla="*/ 2197894 h 2197894"/>
                <a:gd name="connsiteX3" fmla="*/ 1400246 w 2052708"/>
                <a:gd name="connsiteY3" fmla="*/ 2195513 h 2197894"/>
                <a:gd name="connsiteX4" fmla="*/ 1024008 w 2052708"/>
                <a:gd name="connsiteY4" fmla="*/ 478632 h 2197894"/>
                <a:gd name="connsiteX5" fmla="*/ 826363 w 2052708"/>
                <a:gd name="connsiteY5" fmla="*/ 1383508 h 2197894"/>
                <a:gd name="connsiteX6" fmla="*/ 1219271 w 2052708"/>
                <a:gd name="connsiteY6" fmla="*/ 1376363 h 2197894"/>
                <a:gd name="connsiteX7" fmla="*/ 1312139 w 2052708"/>
                <a:gd name="connsiteY7" fmla="*/ 1797844 h 2197894"/>
                <a:gd name="connsiteX8" fmla="*/ 740639 w 2052708"/>
                <a:gd name="connsiteY8" fmla="*/ 1795463 h 2197894"/>
                <a:gd name="connsiteX9" fmla="*/ 652533 w 2052708"/>
                <a:gd name="connsiteY9" fmla="*/ 2197894 h 2197894"/>
                <a:gd name="connsiteX10" fmla="*/ 71 w 2052708"/>
                <a:gd name="connsiteY10" fmla="*/ 2193132 h 2197894"/>
                <a:gd name="connsiteX11" fmla="*/ 652533 w 2052708"/>
                <a:gd name="connsiteY11" fmla="*/ 1 h 2197894"/>
                <a:gd name="connsiteX0" fmla="*/ 652533 w 2052708"/>
                <a:gd name="connsiteY0" fmla="*/ 1 h 2197894"/>
                <a:gd name="connsiteX1" fmla="*/ 1397864 w 2052708"/>
                <a:gd name="connsiteY1" fmla="*/ 1 h 2197894"/>
                <a:gd name="connsiteX2" fmla="*/ 2052708 w 2052708"/>
                <a:gd name="connsiteY2" fmla="*/ 2197894 h 2197894"/>
                <a:gd name="connsiteX3" fmla="*/ 1400246 w 2052708"/>
                <a:gd name="connsiteY3" fmla="*/ 2195513 h 2197894"/>
                <a:gd name="connsiteX4" fmla="*/ 1024008 w 2052708"/>
                <a:gd name="connsiteY4" fmla="*/ 478632 h 2197894"/>
                <a:gd name="connsiteX5" fmla="*/ 826363 w 2052708"/>
                <a:gd name="connsiteY5" fmla="*/ 1383508 h 2197894"/>
                <a:gd name="connsiteX6" fmla="*/ 1221653 w 2052708"/>
                <a:gd name="connsiteY6" fmla="*/ 1383507 h 2197894"/>
                <a:gd name="connsiteX7" fmla="*/ 1312139 w 2052708"/>
                <a:gd name="connsiteY7" fmla="*/ 1797844 h 2197894"/>
                <a:gd name="connsiteX8" fmla="*/ 740639 w 2052708"/>
                <a:gd name="connsiteY8" fmla="*/ 1795463 h 2197894"/>
                <a:gd name="connsiteX9" fmla="*/ 652533 w 2052708"/>
                <a:gd name="connsiteY9" fmla="*/ 2197894 h 2197894"/>
                <a:gd name="connsiteX10" fmla="*/ 71 w 2052708"/>
                <a:gd name="connsiteY10" fmla="*/ 2193132 h 2197894"/>
                <a:gd name="connsiteX11" fmla="*/ 652533 w 2052708"/>
                <a:gd name="connsiteY11" fmla="*/ 1 h 2197894"/>
                <a:gd name="connsiteX0" fmla="*/ 652533 w 2052708"/>
                <a:gd name="connsiteY0" fmla="*/ 1 h 2197894"/>
                <a:gd name="connsiteX1" fmla="*/ 1397864 w 2052708"/>
                <a:gd name="connsiteY1" fmla="*/ 1 h 2197894"/>
                <a:gd name="connsiteX2" fmla="*/ 2052708 w 2052708"/>
                <a:gd name="connsiteY2" fmla="*/ 2197894 h 2197894"/>
                <a:gd name="connsiteX3" fmla="*/ 1400246 w 2052708"/>
                <a:gd name="connsiteY3" fmla="*/ 2195513 h 2197894"/>
                <a:gd name="connsiteX4" fmla="*/ 1024008 w 2052708"/>
                <a:gd name="connsiteY4" fmla="*/ 478632 h 2197894"/>
                <a:gd name="connsiteX5" fmla="*/ 826363 w 2052708"/>
                <a:gd name="connsiteY5" fmla="*/ 1383508 h 2197894"/>
                <a:gd name="connsiteX6" fmla="*/ 1221653 w 2052708"/>
                <a:gd name="connsiteY6" fmla="*/ 1383507 h 2197894"/>
                <a:gd name="connsiteX7" fmla="*/ 1312139 w 2052708"/>
                <a:gd name="connsiteY7" fmla="*/ 1795463 h 2197894"/>
                <a:gd name="connsiteX8" fmla="*/ 740639 w 2052708"/>
                <a:gd name="connsiteY8" fmla="*/ 1795463 h 2197894"/>
                <a:gd name="connsiteX9" fmla="*/ 652533 w 2052708"/>
                <a:gd name="connsiteY9" fmla="*/ 2197894 h 2197894"/>
                <a:gd name="connsiteX10" fmla="*/ 71 w 2052708"/>
                <a:gd name="connsiteY10" fmla="*/ 2193132 h 2197894"/>
                <a:gd name="connsiteX11" fmla="*/ 652533 w 2052708"/>
                <a:gd name="connsiteY11" fmla="*/ 1 h 2197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52708" h="2197894">
                  <a:moveTo>
                    <a:pt x="652533" y="1"/>
                  </a:moveTo>
                  <a:lnTo>
                    <a:pt x="1397864" y="1"/>
                  </a:lnTo>
                  <a:lnTo>
                    <a:pt x="2052708" y="2197894"/>
                  </a:lnTo>
                  <a:lnTo>
                    <a:pt x="1400246" y="2195513"/>
                  </a:lnTo>
                  <a:lnTo>
                    <a:pt x="1024008" y="478632"/>
                  </a:lnTo>
                  <a:lnTo>
                    <a:pt x="826363" y="1383508"/>
                  </a:lnTo>
                  <a:lnTo>
                    <a:pt x="1221653" y="1383507"/>
                  </a:lnTo>
                  <a:lnTo>
                    <a:pt x="1312139" y="1795463"/>
                  </a:lnTo>
                  <a:lnTo>
                    <a:pt x="740639" y="1795463"/>
                  </a:lnTo>
                  <a:lnTo>
                    <a:pt x="652533" y="2197894"/>
                  </a:lnTo>
                  <a:lnTo>
                    <a:pt x="71" y="2193132"/>
                  </a:lnTo>
                  <a:cubicBezTo>
                    <a:pt x="-7867" y="2197101"/>
                    <a:pt x="648565" y="-1587"/>
                    <a:pt x="652533" y="1"/>
                  </a:cubicBezTo>
                  <a:close/>
                </a:path>
              </a:pathLst>
            </a:custGeom>
            <a:solidFill>
              <a:srgbClr val="0F238D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noProof="0">
                <a:solidFill>
                  <a:schemeClr val="accent1"/>
                </a:solidFill>
              </a:endParaRPr>
            </a:p>
          </p:txBody>
        </p:sp>
        <p:sp>
          <p:nvSpPr>
            <p:cNvPr id="9" name="Freeform 31">
              <a:extLst>
                <a:ext uri="{FF2B5EF4-FFF2-40B4-BE49-F238E27FC236}">
                  <a16:creationId xmlns:a16="http://schemas.microsoft.com/office/drawing/2014/main" id="{95EE17D5-EAF7-41A8-8EC1-164716317CE9}"/>
                </a:ext>
              </a:extLst>
            </p:cNvPr>
            <p:cNvSpPr/>
            <p:nvPr userDrawn="1"/>
          </p:nvSpPr>
          <p:spPr>
            <a:xfrm>
              <a:off x="8653685" y="164584"/>
              <a:ext cx="208171" cy="182993"/>
            </a:xfrm>
            <a:custGeom>
              <a:avLst/>
              <a:gdLst>
                <a:gd name="connsiteX0" fmla="*/ 0 w 688182"/>
                <a:gd name="connsiteY0" fmla="*/ 950119 h 950119"/>
                <a:gd name="connsiteX1" fmla="*/ 611982 w 688182"/>
                <a:gd name="connsiteY1" fmla="*/ 950119 h 950119"/>
                <a:gd name="connsiteX2" fmla="*/ 688182 w 688182"/>
                <a:gd name="connsiteY2" fmla="*/ 0 h 950119"/>
                <a:gd name="connsiteX3" fmla="*/ 0 w 688182"/>
                <a:gd name="connsiteY3" fmla="*/ 950119 h 950119"/>
                <a:gd name="connsiteX0" fmla="*/ 0 w 688182"/>
                <a:gd name="connsiteY0" fmla="*/ 950119 h 950119"/>
                <a:gd name="connsiteX1" fmla="*/ 611982 w 688182"/>
                <a:gd name="connsiteY1" fmla="*/ 950119 h 950119"/>
                <a:gd name="connsiteX2" fmla="*/ 688182 w 688182"/>
                <a:gd name="connsiteY2" fmla="*/ 0 h 950119"/>
                <a:gd name="connsiteX3" fmla="*/ 214313 w 688182"/>
                <a:gd name="connsiteY3" fmla="*/ 652463 h 950119"/>
                <a:gd name="connsiteX4" fmla="*/ 0 w 688182"/>
                <a:gd name="connsiteY4" fmla="*/ 950119 h 950119"/>
                <a:gd name="connsiteX0" fmla="*/ 0 w 688182"/>
                <a:gd name="connsiteY0" fmla="*/ 950119 h 950119"/>
                <a:gd name="connsiteX1" fmla="*/ 611982 w 688182"/>
                <a:gd name="connsiteY1" fmla="*/ 950119 h 950119"/>
                <a:gd name="connsiteX2" fmla="*/ 688182 w 688182"/>
                <a:gd name="connsiteY2" fmla="*/ 0 h 950119"/>
                <a:gd name="connsiteX3" fmla="*/ 111919 w 688182"/>
                <a:gd name="connsiteY3" fmla="*/ 95250 h 950119"/>
                <a:gd name="connsiteX4" fmla="*/ 0 w 688182"/>
                <a:gd name="connsiteY4" fmla="*/ 950119 h 950119"/>
                <a:gd name="connsiteX0" fmla="*/ 0 w 723900"/>
                <a:gd name="connsiteY0" fmla="*/ 1395413 h 1395413"/>
                <a:gd name="connsiteX1" fmla="*/ 611982 w 723900"/>
                <a:gd name="connsiteY1" fmla="*/ 1395413 h 1395413"/>
                <a:gd name="connsiteX2" fmla="*/ 723900 w 723900"/>
                <a:gd name="connsiteY2" fmla="*/ 0 h 1395413"/>
                <a:gd name="connsiteX3" fmla="*/ 111919 w 723900"/>
                <a:gd name="connsiteY3" fmla="*/ 540544 h 1395413"/>
                <a:gd name="connsiteX4" fmla="*/ 0 w 723900"/>
                <a:gd name="connsiteY4" fmla="*/ 1395413 h 1395413"/>
                <a:gd name="connsiteX0" fmla="*/ 0 w 723900"/>
                <a:gd name="connsiteY0" fmla="*/ 2031206 h 2031206"/>
                <a:gd name="connsiteX1" fmla="*/ 611982 w 723900"/>
                <a:gd name="connsiteY1" fmla="*/ 2031206 h 2031206"/>
                <a:gd name="connsiteX2" fmla="*/ 723900 w 723900"/>
                <a:gd name="connsiteY2" fmla="*/ 635793 h 2031206"/>
                <a:gd name="connsiteX3" fmla="*/ 266700 w 723900"/>
                <a:gd name="connsiteY3" fmla="*/ 0 h 2031206"/>
                <a:gd name="connsiteX4" fmla="*/ 0 w 723900"/>
                <a:gd name="connsiteY4" fmla="*/ 2031206 h 2031206"/>
                <a:gd name="connsiteX0" fmla="*/ 0 w 723900"/>
                <a:gd name="connsiteY0" fmla="*/ 2195513 h 2195513"/>
                <a:gd name="connsiteX1" fmla="*/ 611982 w 723900"/>
                <a:gd name="connsiteY1" fmla="*/ 2195513 h 2195513"/>
                <a:gd name="connsiteX2" fmla="*/ 723900 w 723900"/>
                <a:gd name="connsiteY2" fmla="*/ 800100 h 2195513"/>
                <a:gd name="connsiteX3" fmla="*/ 283369 w 723900"/>
                <a:gd name="connsiteY3" fmla="*/ 0 h 2195513"/>
                <a:gd name="connsiteX4" fmla="*/ 0 w 723900"/>
                <a:gd name="connsiteY4" fmla="*/ 2195513 h 2195513"/>
                <a:gd name="connsiteX0" fmla="*/ 0 w 723900"/>
                <a:gd name="connsiteY0" fmla="*/ 2195513 h 2195513"/>
                <a:gd name="connsiteX1" fmla="*/ 611982 w 723900"/>
                <a:gd name="connsiteY1" fmla="*/ 2195513 h 2195513"/>
                <a:gd name="connsiteX2" fmla="*/ 723900 w 723900"/>
                <a:gd name="connsiteY2" fmla="*/ 800100 h 2195513"/>
                <a:gd name="connsiteX3" fmla="*/ 500063 w 723900"/>
                <a:gd name="connsiteY3" fmla="*/ 388145 h 2195513"/>
                <a:gd name="connsiteX4" fmla="*/ 283369 w 723900"/>
                <a:gd name="connsiteY4" fmla="*/ 0 h 2195513"/>
                <a:gd name="connsiteX5" fmla="*/ 0 w 723900"/>
                <a:gd name="connsiteY5" fmla="*/ 2195513 h 2195513"/>
                <a:gd name="connsiteX0" fmla="*/ 0 w 945356"/>
                <a:gd name="connsiteY0" fmla="*/ 2195513 h 2195513"/>
                <a:gd name="connsiteX1" fmla="*/ 611982 w 945356"/>
                <a:gd name="connsiteY1" fmla="*/ 2195513 h 2195513"/>
                <a:gd name="connsiteX2" fmla="*/ 723900 w 945356"/>
                <a:gd name="connsiteY2" fmla="*/ 800100 h 2195513"/>
                <a:gd name="connsiteX3" fmla="*/ 945356 w 945356"/>
                <a:gd name="connsiteY3" fmla="*/ 2382 h 2195513"/>
                <a:gd name="connsiteX4" fmla="*/ 283369 w 945356"/>
                <a:gd name="connsiteY4" fmla="*/ 0 h 2195513"/>
                <a:gd name="connsiteX5" fmla="*/ 0 w 945356"/>
                <a:gd name="connsiteY5" fmla="*/ 2195513 h 2195513"/>
                <a:gd name="connsiteX0" fmla="*/ 0 w 945356"/>
                <a:gd name="connsiteY0" fmla="*/ 2195513 h 2195513"/>
                <a:gd name="connsiteX1" fmla="*/ 611982 w 945356"/>
                <a:gd name="connsiteY1" fmla="*/ 2195513 h 2195513"/>
                <a:gd name="connsiteX2" fmla="*/ 723900 w 945356"/>
                <a:gd name="connsiteY2" fmla="*/ 800100 h 2195513"/>
                <a:gd name="connsiteX3" fmla="*/ 790575 w 945356"/>
                <a:gd name="connsiteY3" fmla="*/ 545308 h 2195513"/>
                <a:gd name="connsiteX4" fmla="*/ 945356 w 945356"/>
                <a:gd name="connsiteY4" fmla="*/ 2382 h 2195513"/>
                <a:gd name="connsiteX5" fmla="*/ 283369 w 945356"/>
                <a:gd name="connsiteY5" fmla="*/ 0 h 2195513"/>
                <a:gd name="connsiteX6" fmla="*/ 0 w 945356"/>
                <a:gd name="connsiteY6" fmla="*/ 2195513 h 2195513"/>
                <a:gd name="connsiteX0" fmla="*/ 0 w 1252537"/>
                <a:gd name="connsiteY0" fmla="*/ 2195513 h 2195513"/>
                <a:gd name="connsiteX1" fmla="*/ 611982 w 1252537"/>
                <a:gd name="connsiteY1" fmla="*/ 2195513 h 2195513"/>
                <a:gd name="connsiteX2" fmla="*/ 723900 w 1252537"/>
                <a:gd name="connsiteY2" fmla="*/ 800100 h 2195513"/>
                <a:gd name="connsiteX3" fmla="*/ 1252537 w 1252537"/>
                <a:gd name="connsiteY3" fmla="*/ 1333501 h 2195513"/>
                <a:gd name="connsiteX4" fmla="*/ 945356 w 1252537"/>
                <a:gd name="connsiteY4" fmla="*/ 2382 h 2195513"/>
                <a:gd name="connsiteX5" fmla="*/ 283369 w 1252537"/>
                <a:gd name="connsiteY5" fmla="*/ 0 h 2195513"/>
                <a:gd name="connsiteX6" fmla="*/ 0 w 1252537"/>
                <a:gd name="connsiteY6" fmla="*/ 2195513 h 2195513"/>
                <a:gd name="connsiteX0" fmla="*/ 0 w 1252537"/>
                <a:gd name="connsiteY0" fmla="*/ 2195513 h 2195513"/>
                <a:gd name="connsiteX1" fmla="*/ 611982 w 1252537"/>
                <a:gd name="connsiteY1" fmla="*/ 2195513 h 2195513"/>
                <a:gd name="connsiteX2" fmla="*/ 723900 w 1252537"/>
                <a:gd name="connsiteY2" fmla="*/ 800100 h 2195513"/>
                <a:gd name="connsiteX3" fmla="*/ 1031082 w 1252537"/>
                <a:gd name="connsiteY3" fmla="*/ 1112045 h 2195513"/>
                <a:gd name="connsiteX4" fmla="*/ 1252537 w 1252537"/>
                <a:gd name="connsiteY4" fmla="*/ 1333501 h 2195513"/>
                <a:gd name="connsiteX5" fmla="*/ 945356 w 1252537"/>
                <a:gd name="connsiteY5" fmla="*/ 2382 h 2195513"/>
                <a:gd name="connsiteX6" fmla="*/ 283369 w 1252537"/>
                <a:gd name="connsiteY6" fmla="*/ 0 h 2195513"/>
                <a:gd name="connsiteX7" fmla="*/ 0 w 1252537"/>
                <a:gd name="connsiteY7" fmla="*/ 2195513 h 2195513"/>
                <a:gd name="connsiteX0" fmla="*/ 0 w 1252537"/>
                <a:gd name="connsiteY0" fmla="*/ 2195513 h 2195513"/>
                <a:gd name="connsiteX1" fmla="*/ 611982 w 1252537"/>
                <a:gd name="connsiteY1" fmla="*/ 2195513 h 2195513"/>
                <a:gd name="connsiteX2" fmla="*/ 723900 w 1252537"/>
                <a:gd name="connsiteY2" fmla="*/ 800100 h 2195513"/>
                <a:gd name="connsiteX3" fmla="*/ 1007270 w 1252537"/>
                <a:gd name="connsiteY3" fmla="*/ 2193132 h 2195513"/>
                <a:gd name="connsiteX4" fmla="*/ 1252537 w 1252537"/>
                <a:gd name="connsiteY4" fmla="*/ 1333501 h 2195513"/>
                <a:gd name="connsiteX5" fmla="*/ 945356 w 1252537"/>
                <a:gd name="connsiteY5" fmla="*/ 2382 h 2195513"/>
                <a:gd name="connsiteX6" fmla="*/ 283369 w 1252537"/>
                <a:gd name="connsiteY6" fmla="*/ 0 h 2195513"/>
                <a:gd name="connsiteX7" fmla="*/ 0 w 1252537"/>
                <a:gd name="connsiteY7" fmla="*/ 2195513 h 2195513"/>
                <a:gd name="connsiteX0" fmla="*/ 0 w 1252537"/>
                <a:gd name="connsiteY0" fmla="*/ 2195513 h 2195513"/>
                <a:gd name="connsiteX1" fmla="*/ 611982 w 1252537"/>
                <a:gd name="connsiteY1" fmla="*/ 2195513 h 2195513"/>
                <a:gd name="connsiteX2" fmla="*/ 723900 w 1252537"/>
                <a:gd name="connsiteY2" fmla="*/ 800100 h 2195513"/>
                <a:gd name="connsiteX3" fmla="*/ 1007270 w 1252537"/>
                <a:gd name="connsiteY3" fmla="*/ 2193132 h 2195513"/>
                <a:gd name="connsiteX4" fmla="*/ 1173957 w 1252537"/>
                <a:gd name="connsiteY4" fmla="*/ 1600202 h 2195513"/>
                <a:gd name="connsiteX5" fmla="*/ 1252537 w 1252537"/>
                <a:gd name="connsiteY5" fmla="*/ 1333501 h 2195513"/>
                <a:gd name="connsiteX6" fmla="*/ 945356 w 1252537"/>
                <a:gd name="connsiteY6" fmla="*/ 2382 h 2195513"/>
                <a:gd name="connsiteX7" fmla="*/ 283369 w 1252537"/>
                <a:gd name="connsiteY7" fmla="*/ 0 h 2195513"/>
                <a:gd name="connsiteX8" fmla="*/ 0 w 1252537"/>
                <a:gd name="connsiteY8" fmla="*/ 2195513 h 2195513"/>
                <a:gd name="connsiteX0" fmla="*/ 0 w 1488282"/>
                <a:gd name="connsiteY0" fmla="*/ 2195513 h 2195514"/>
                <a:gd name="connsiteX1" fmla="*/ 611982 w 1488282"/>
                <a:gd name="connsiteY1" fmla="*/ 2195513 h 2195514"/>
                <a:gd name="connsiteX2" fmla="*/ 723900 w 1488282"/>
                <a:gd name="connsiteY2" fmla="*/ 800100 h 2195514"/>
                <a:gd name="connsiteX3" fmla="*/ 1007270 w 1488282"/>
                <a:gd name="connsiteY3" fmla="*/ 2193132 h 2195514"/>
                <a:gd name="connsiteX4" fmla="*/ 1488282 w 1488282"/>
                <a:gd name="connsiteY4" fmla="*/ 2195514 h 2195514"/>
                <a:gd name="connsiteX5" fmla="*/ 1252537 w 1488282"/>
                <a:gd name="connsiteY5" fmla="*/ 1333501 h 2195514"/>
                <a:gd name="connsiteX6" fmla="*/ 945356 w 1488282"/>
                <a:gd name="connsiteY6" fmla="*/ 2382 h 2195514"/>
                <a:gd name="connsiteX7" fmla="*/ 283369 w 1488282"/>
                <a:gd name="connsiteY7" fmla="*/ 0 h 2195514"/>
                <a:gd name="connsiteX8" fmla="*/ 0 w 1488282"/>
                <a:gd name="connsiteY8" fmla="*/ 2195513 h 2195514"/>
                <a:gd name="connsiteX0" fmla="*/ 0 w 1488282"/>
                <a:gd name="connsiteY0" fmla="*/ 2195513 h 2195514"/>
                <a:gd name="connsiteX1" fmla="*/ 611982 w 1488282"/>
                <a:gd name="connsiteY1" fmla="*/ 2195513 h 2195514"/>
                <a:gd name="connsiteX2" fmla="*/ 723900 w 1488282"/>
                <a:gd name="connsiteY2" fmla="*/ 800100 h 2195514"/>
                <a:gd name="connsiteX3" fmla="*/ 1007270 w 1488282"/>
                <a:gd name="connsiteY3" fmla="*/ 2193132 h 2195514"/>
                <a:gd name="connsiteX4" fmla="*/ 1488282 w 1488282"/>
                <a:gd name="connsiteY4" fmla="*/ 2195514 h 2195514"/>
                <a:gd name="connsiteX5" fmla="*/ 1352549 w 1488282"/>
                <a:gd name="connsiteY5" fmla="*/ 1690688 h 2195514"/>
                <a:gd name="connsiteX6" fmla="*/ 1252537 w 1488282"/>
                <a:gd name="connsiteY6" fmla="*/ 1333501 h 2195514"/>
                <a:gd name="connsiteX7" fmla="*/ 945356 w 1488282"/>
                <a:gd name="connsiteY7" fmla="*/ 2382 h 2195514"/>
                <a:gd name="connsiteX8" fmla="*/ 283369 w 1488282"/>
                <a:gd name="connsiteY8" fmla="*/ 0 h 2195514"/>
                <a:gd name="connsiteX9" fmla="*/ 0 w 1488282"/>
                <a:gd name="connsiteY9" fmla="*/ 2195513 h 2195514"/>
                <a:gd name="connsiteX0" fmla="*/ 0 w 1781174"/>
                <a:gd name="connsiteY0" fmla="*/ 2195513 h 2195514"/>
                <a:gd name="connsiteX1" fmla="*/ 611982 w 1781174"/>
                <a:gd name="connsiteY1" fmla="*/ 2195513 h 2195514"/>
                <a:gd name="connsiteX2" fmla="*/ 723900 w 1781174"/>
                <a:gd name="connsiteY2" fmla="*/ 800100 h 2195514"/>
                <a:gd name="connsiteX3" fmla="*/ 1007270 w 1781174"/>
                <a:gd name="connsiteY3" fmla="*/ 2193132 h 2195514"/>
                <a:gd name="connsiteX4" fmla="*/ 1488282 w 1781174"/>
                <a:gd name="connsiteY4" fmla="*/ 2195514 h 2195514"/>
                <a:gd name="connsiteX5" fmla="*/ 1781174 w 1781174"/>
                <a:gd name="connsiteY5" fmla="*/ 792957 h 2195514"/>
                <a:gd name="connsiteX6" fmla="*/ 1252537 w 1781174"/>
                <a:gd name="connsiteY6" fmla="*/ 1333501 h 2195514"/>
                <a:gd name="connsiteX7" fmla="*/ 945356 w 1781174"/>
                <a:gd name="connsiteY7" fmla="*/ 2382 h 2195514"/>
                <a:gd name="connsiteX8" fmla="*/ 283369 w 1781174"/>
                <a:gd name="connsiteY8" fmla="*/ 0 h 2195514"/>
                <a:gd name="connsiteX9" fmla="*/ 0 w 1781174"/>
                <a:gd name="connsiteY9" fmla="*/ 2195513 h 2195514"/>
                <a:gd name="connsiteX0" fmla="*/ 0 w 1781174"/>
                <a:gd name="connsiteY0" fmla="*/ 2195513 h 2195514"/>
                <a:gd name="connsiteX1" fmla="*/ 611982 w 1781174"/>
                <a:gd name="connsiteY1" fmla="*/ 2195513 h 2195514"/>
                <a:gd name="connsiteX2" fmla="*/ 723900 w 1781174"/>
                <a:gd name="connsiteY2" fmla="*/ 800100 h 2195514"/>
                <a:gd name="connsiteX3" fmla="*/ 1007270 w 1781174"/>
                <a:gd name="connsiteY3" fmla="*/ 2193132 h 2195514"/>
                <a:gd name="connsiteX4" fmla="*/ 1488282 w 1781174"/>
                <a:gd name="connsiteY4" fmla="*/ 2195514 h 2195514"/>
                <a:gd name="connsiteX5" fmla="*/ 1781174 w 1781174"/>
                <a:gd name="connsiteY5" fmla="*/ 792957 h 2195514"/>
                <a:gd name="connsiteX6" fmla="*/ 1528762 w 1781174"/>
                <a:gd name="connsiteY6" fmla="*/ 1052513 h 2195514"/>
                <a:gd name="connsiteX7" fmla="*/ 1252537 w 1781174"/>
                <a:gd name="connsiteY7" fmla="*/ 1333501 h 2195514"/>
                <a:gd name="connsiteX8" fmla="*/ 945356 w 1781174"/>
                <a:gd name="connsiteY8" fmla="*/ 2382 h 2195514"/>
                <a:gd name="connsiteX9" fmla="*/ 283369 w 1781174"/>
                <a:gd name="connsiteY9" fmla="*/ 0 h 2195514"/>
                <a:gd name="connsiteX10" fmla="*/ 0 w 1781174"/>
                <a:gd name="connsiteY10" fmla="*/ 2195513 h 2195514"/>
                <a:gd name="connsiteX0" fmla="*/ 0 w 1781174"/>
                <a:gd name="connsiteY0" fmla="*/ 2197894 h 2197895"/>
                <a:gd name="connsiteX1" fmla="*/ 611982 w 1781174"/>
                <a:gd name="connsiteY1" fmla="*/ 2197894 h 2197895"/>
                <a:gd name="connsiteX2" fmla="*/ 723900 w 1781174"/>
                <a:gd name="connsiteY2" fmla="*/ 802481 h 2197895"/>
                <a:gd name="connsiteX3" fmla="*/ 1007270 w 1781174"/>
                <a:gd name="connsiteY3" fmla="*/ 2195513 h 2197895"/>
                <a:gd name="connsiteX4" fmla="*/ 1488282 w 1781174"/>
                <a:gd name="connsiteY4" fmla="*/ 2197895 h 2197895"/>
                <a:gd name="connsiteX5" fmla="*/ 1781174 w 1781174"/>
                <a:gd name="connsiteY5" fmla="*/ 795338 h 2197895"/>
                <a:gd name="connsiteX6" fmla="*/ 1559719 w 1781174"/>
                <a:gd name="connsiteY6" fmla="*/ 0 h 2197895"/>
                <a:gd name="connsiteX7" fmla="*/ 1252537 w 1781174"/>
                <a:gd name="connsiteY7" fmla="*/ 1335882 h 2197895"/>
                <a:gd name="connsiteX8" fmla="*/ 945356 w 1781174"/>
                <a:gd name="connsiteY8" fmla="*/ 4763 h 2197895"/>
                <a:gd name="connsiteX9" fmla="*/ 283369 w 1781174"/>
                <a:gd name="connsiteY9" fmla="*/ 2381 h 2197895"/>
                <a:gd name="connsiteX10" fmla="*/ 0 w 1781174"/>
                <a:gd name="connsiteY10" fmla="*/ 2197894 h 2197895"/>
                <a:gd name="connsiteX0" fmla="*/ 0 w 1781174"/>
                <a:gd name="connsiteY0" fmla="*/ 2197894 h 2197895"/>
                <a:gd name="connsiteX1" fmla="*/ 611982 w 1781174"/>
                <a:gd name="connsiteY1" fmla="*/ 2197894 h 2197895"/>
                <a:gd name="connsiteX2" fmla="*/ 723900 w 1781174"/>
                <a:gd name="connsiteY2" fmla="*/ 802481 h 2197895"/>
                <a:gd name="connsiteX3" fmla="*/ 1007270 w 1781174"/>
                <a:gd name="connsiteY3" fmla="*/ 2195513 h 2197895"/>
                <a:gd name="connsiteX4" fmla="*/ 1488282 w 1781174"/>
                <a:gd name="connsiteY4" fmla="*/ 2197895 h 2197895"/>
                <a:gd name="connsiteX5" fmla="*/ 1781174 w 1781174"/>
                <a:gd name="connsiteY5" fmla="*/ 795338 h 2197895"/>
                <a:gd name="connsiteX6" fmla="*/ 1688306 w 1781174"/>
                <a:gd name="connsiteY6" fmla="*/ 454820 h 2197895"/>
                <a:gd name="connsiteX7" fmla="*/ 1559719 w 1781174"/>
                <a:gd name="connsiteY7" fmla="*/ 0 h 2197895"/>
                <a:gd name="connsiteX8" fmla="*/ 1252537 w 1781174"/>
                <a:gd name="connsiteY8" fmla="*/ 1335882 h 2197895"/>
                <a:gd name="connsiteX9" fmla="*/ 945356 w 1781174"/>
                <a:gd name="connsiteY9" fmla="*/ 4763 h 2197895"/>
                <a:gd name="connsiteX10" fmla="*/ 283369 w 1781174"/>
                <a:gd name="connsiteY10" fmla="*/ 2381 h 2197895"/>
                <a:gd name="connsiteX11" fmla="*/ 0 w 1781174"/>
                <a:gd name="connsiteY11" fmla="*/ 2197894 h 2197895"/>
                <a:gd name="connsiteX0" fmla="*/ 0 w 2212181"/>
                <a:gd name="connsiteY0" fmla="*/ 2197894 h 2197895"/>
                <a:gd name="connsiteX1" fmla="*/ 611982 w 2212181"/>
                <a:gd name="connsiteY1" fmla="*/ 2197894 h 2197895"/>
                <a:gd name="connsiteX2" fmla="*/ 723900 w 2212181"/>
                <a:gd name="connsiteY2" fmla="*/ 802481 h 2197895"/>
                <a:gd name="connsiteX3" fmla="*/ 1007270 w 2212181"/>
                <a:gd name="connsiteY3" fmla="*/ 2195513 h 2197895"/>
                <a:gd name="connsiteX4" fmla="*/ 1488282 w 2212181"/>
                <a:gd name="connsiteY4" fmla="*/ 2197895 h 2197895"/>
                <a:gd name="connsiteX5" fmla="*/ 1781174 w 2212181"/>
                <a:gd name="connsiteY5" fmla="*/ 795338 h 2197895"/>
                <a:gd name="connsiteX6" fmla="*/ 2212181 w 2212181"/>
                <a:gd name="connsiteY6" fmla="*/ 7145 h 2197895"/>
                <a:gd name="connsiteX7" fmla="*/ 1559719 w 2212181"/>
                <a:gd name="connsiteY7" fmla="*/ 0 h 2197895"/>
                <a:gd name="connsiteX8" fmla="*/ 1252537 w 2212181"/>
                <a:gd name="connsiteY8" fmla="*/ 1335882 h 2197895"/>
                <a:gd name="connsiteX9" fmla="*/ 945356 w 2212181"/>
                <a:gd name="connsiteY9" fmla="*/ 4763 h 2197895"/>
                <a:gd name="connsiteX10" fmla="*/ 283369 w 2212181"/>
                <a:gd name="connsiteY10" fmla="*/ 2381 h 2197895"/>
                <a:gd name="connsiteX11" fmla="*/ 0 w 2212181"/>
                <a:gd name="connsiteY11" fmla="*/ 2197894 h 2197895"/>
                <a:gd name="connsiteX0" fmla="*/ 0 w 2212181"/>
                <a:gd name="connsiteY0" fmla="*/ 2197894 h 2197895"/>
                <a:gd name="connsiteX1" fmla="*/ 611982 w 2212181"/>
                <a:gd name="connsiteY1" fmla="*/ 2197894 h 2197895"/>
                <a:gd name="connsiteX2" fmla="*/ 723900 w 2212181"/>
                <a:gd name="connsiteY2" fmla="*/ 802481 h 2197895"/>
                <a:gd name="connsiteX3" fmla="*/ 1007270 w 2212181"/>
                <a:gd name="connsiteY3" fmla="*/ 2195513 h 2197895"/>
                <a:gd name="connsiteX4" fmla="*/ 1488282 w 2212181"/>
                <a:gd name="connsiteY4" fmla="*/ 2197895 h 2197895"/>
                <a:gd name="connsiteX5" fmla="*/ 1781174 w 2212181"/>
                <a:gd name="connsiteY5" fmla="*/ 795338 h 2197895"/>
                <a:gd name="connsiteX6" fmla="*/ 2035968 w 2212181"/>
                <a:gd name="connsiteY6" fmla="*/ 328614 h 2197895"/>
                <a:gd name="connsiteX7" fmla="*/ 2212181 w 2212181"/>
                <a:gd name="connsiteY7" fmla="*/ 7145 h 2197895"/>
                <a:gd name="connsiteX8" fmla="*/ 1559719 w 2212181"/>
                <a:gd name="connsiteY8" fmla="*/ 0 h 2197895"/>
                <a:gd name="connsiteX9" fmla="*/ 1252537 w 2212181"/>
                <a:gd name="connsiteY9" fmla="*/ 1335882 h 2197895"/>
                <a:gd name="connsiteX10" fmla="*/ 945356 w 2212181"/>
                <a:gd name="connsiteY10" fmla="*/ 4763 h 2197895"/>
                <a:gd name="connsiteX11" fmla="*/ 283369 w 2212181"/>
                <a:gd name="connsiteY11" fmla="*/ 2381 h 2197895"/>
                <a:gd name="connsiteX12" fmla="*/ 0 w 2212181"/>
                <a:gd name="connsiteY12" fmla="*/ 2197894 h 2197895"/>
                <a:gd name="connsiteX0" fmla="*/ 0 w 2500312"/>
                <a:gd name="connsiteY0" fmla="*/ 2197894 h 2197895"/>
                <a:gd name="connsiteX1" fmla="*/ 611982 w 2500312"/>
                <a:gd name="connsiteY1" fmla="*/ 2197894 h 2197895"/>
                <a:gd name="connsiteX2" fmla="*/ 723900 w 2500312"/>
                <a:gd name="connsiteY2" fmla="*/ 802481 h 2197895"/>
                <a:gd name="connsiteX3" fmla="*/ 1007270 w 2500312"/>
                <a:gd name="connsiteY3" fmla="*/ 2195513 h 2197895"/>
                <a:gd name="connsiteX4" fmla="*/ 1488282 w 2500312"/>
                <a:gd name="connsiteY4" fmla="*/ 2197895 h 2197895"/>
                <a:gd name="connsiteX5" fmla="*/ 1781174 w 2500312"/>
                <a:gd name="connsiteY5" fmla="*/ 795338 h 2197895"/>
                <a:gd name="connsiteX6" fmla="*/ 2500312 w 2500312"/>
                <a:gd name="connsiteY6" fmla="*/ 2197895 h 2197895"/>
                <a:gd name="connsiteX7" fmla="*/ 2212181 w 2500312"/>
                <a:gd name="connsiteY7" fmla="*/ 7145 h 2197895"/>
                <a:gd name="connsiteX8" fmla="*/ 1559719 w 2500312"/>
                <a:gd name="connsiteY8" fmla="*/ 0 h 2197895"/>
                <a:gd name="connsiteX9" fmla="*/ 1252537 w 2500312"/>
                <a:gd name="connsiteY9" fmla="*/ 1335882 h 2197895"/>
                <a:gd name="connsiteX10" fmla="*/ 945356 w 2500312"/>
                <a:gd name="connsiteY10" fmla="*/ 4763 h 2197895"/>
                <a:gd name="connsiteX11" fmla="*/ 283369 w 2500312"/>
                <a:gd name="connsiteY11" fmla="*/ 2381 h 2197895"/>
                <a:gd name="connsiteX12" fmla="*/ 0 w 2500312"/>
                <a:gd name="connsiteY12" fmla="*/ 2197894 h 2197895"/>
                <a:gd name="connsiteX0" fmla="*/ 0 w 2500312"/>
                <a:gd name="connsiteY0" fmla="*/ 2197894 h 2197895"/>
                <a:gd name="connsiteX1" fmla="*/ 611982 w 2500312"/>
                <a:gd name="connsiteY1" fmla="*/ 2197894 h 2197895"/>
                <a:gd name="connsiteX2" fmla="*/ 723900 w 2500312"/>
                <a:gd name="connsiteY2" fmla="*/ 802481 h 2197895"/>
                <a:gd name="connsiteX3" fmla="*/ 1007270 w 2500312"/>
                <a:gd name="connsiteY3" fmla="*/ 2195513 h 2197895"/>
                <a:gd name="connsiteX4" fmla="*/ 1488282 w 2500312"/>
                <a:gd name="connsiteY4" fmla="*/ 2197895 h 2197895"/>
                <a:gd name="connsiteX5" fmla="*/ 1781174 w 2500312"/>
                <a:gd name="connsiteY5" fmla="*/ 795338 h 2197895"/>
                <a:gd name="connsiteX6" fmla="*/ 2190748 w 2500312"/>
                <a:gd name="connsiteY6" fmla="*/ 1595439 h 2197895"/>
                <a:gd name="connsiteX7" fmla="*/ 2500312 w 2500312"/>
                <a:gd name="connsiteY7" fmla="*/ 2197895 h 2197895"/>
                <a:gd name="connsiteX8" fmla="*/ 2212181 w 2500312"/>
                <a:gd name="connsiteY8" fmla="*/ 7145 h 2197895"/>
                <a:gd name="connsiteX9" fmla="*/ 1559719 w 2500312"/>
                <a:gd name="connsiteY9" fmla="*/ 0 h 2197895"/>
                <a:gd name="connsiteX10" fmla="*/ 1252537 w 2500312"/>
                <a:gd name="connsiteY10" fmla="*/ 1335882 h 2197895"/>
                <a:gd name="connsiteX11" fmla="*/ 945356 w 2500312"/>
                <a:gd name="connsiteY11" fmla="*/ 4763 h 2197895"/>
                <a:gd name="connsiteX12" fmla="*/ 283369 w 2500312"/>
                <a:gd name="connsiteY12" fmla="*/ 2381 h 2197895"/>
                <a:gd name="connsiteX13" fmla="*/ 0 w 2500312"/>
                <a:gd name="connsiteY13" fmla="*/ 2197894 h 2197895"/>
                <a:gd name="connsiteX0" fmla="*/ 0 w 2500312"/>
                <a:gd name="connsiteY0" fmla="*/ 2197894 h 2197895"/>
                <a:gd name="connsiteX1" fmla="*/ 611982 w 2500312"/>
                <a:gd name="connsiteY1" fmla="*/ 2197894 h 2197895"/>
                <a:gd name="connsiteX2" fmla="*/ 723900 w 2500312"/>
                <a:gd name="connsiteY2" fmla="*/ 802481 h 2197895"/>
                <a:gd name="connsiteX3" fmla="*/ 1007270 w 2500312"/>
                <a:gd name="connsiteY3" fmla="*/ 2195513 h 2197895"/>
                <a:gd name="connsiteX4" fmla="*/ 1488282 w 2500312"/>
                <a:gd name="connsiteY4" fmla="*/ 2197895 h 2197895"/>
                <a:gd name="connsiteX5" fmla="*/ 1781174 w 2500312"/>
                <a:gd name="connsiteY5" fmla="*/ 795338 h 2197895"/>
                <a:gd name="connsiteX6" fmla="*/ 1883567 w 2500312"/>
                <a:gd name="connsiteY6" fmla="*/ 2195514 h 2197895"/>
                <a:gd name="connsiteX7" fmla="*/ 2500312 w 2500312"/>
                <a:gd name="connsiteY7" fmla="*/ 2197895 h 2197895"/>
                <a:gd name="connsiteX8" fmla="*/ 2212181 w 2500312"/>
                <a:gd name="connsiteY8" fmla="*/ 7145 h 2197895"/>
                <a:gd name="connsiteX9" fmla="*/ 1559719 w 2500312"/>
                <a:gd name="connsiteY9" fmla="*/ 0 h 2197895"/>
                <a:gd name="connsiteX10" fmla="*/ 1252537 w 2500312"/>
                <a:gd name="connsiteY10" fmla="*/ 1335882 h 2197895"/>
                <a:gd name="connsiteX11" fmla="*/ 945356 w 2500312"/>
                <a:gd name="connsiteY11" fmla="*/ 4763 h 2197895"/>
                <a:gd name="connsiteX12" fmla="*/ 283369 w 2500312"/>
                <a:gd name="connsiteY12" fmla="*/ 2381 h 2197895"/>
                <a:gd name="connsiteX13" fmla="*/ 0 w 2500312"/>
                <a:gd name="connsiteY13" fmla="*/ 2197894 h 2197895"/>
                <a:gd name="connsiteX0" fmla="*/ 0 w 2500312"/>
                <a:gd name="connsiteY0" fmla="*/ 2197894 h 2197895"/>
                <a:gd name="connsiteX1" fmla="*/ 611982 w 2500312"/>
                <a:gd name="connsiteY1" fmla="*/ 2197894 h 2197895"/>
                <a:gd name="connsiteX2" fmla="*/ 723900 w 2500312"/>
                <a:gd name="connsiteY2" fmla="*/ 802481 h 2197895"/>
                <a:gd name="connsiteX3" fmla="*/ 1007270 w 2500312"/>
                <a:gd name="connsiteY3" fmla="*/ 2195513 h 2197895"/>
                <a:gd name="connsiteX4" fmla="*/ 1488282 w 2500312"/>
                <a:gd name="connsiteY4" fmla="*/ 2197895 h 2197895"/>
                <a:gd name="connsiteX5" fmla="*/ 1776411 w 2500312"/>
                <a:gd name="connsiteY5" fmla="*/ 809626 h 2197895"/>
                <a:gd name="connsiteX6" fmla="*/ 1883567 w 2500312"/>
                <a:gd name="connsiteY6" fmla="*/ 2195514 h 2197895"/>
                <a:gd name="connsiteX7" fmla="*/ 2500312 w 2500312"/>
                <a:gd name="connsiteY7" fmla="*/ 2197895 h 2197895"/>
                <a:gd name="connsiteX8" fmla="*/ 2212181 w 2500312"/>
                <a:gd name="connsiteY8" fmla="*/ 7145 h 2197895"/>
                <a:gd name="connsiteX9" fmla="*/ 1559719 w 2500312"/>
                <a:gd name="connsiteY9" fmla="*/ 0 h 2197895"/>
                <a:gd name="connsiteX10" fmla="*/ 1252537 w 2500312"/>
                <a:gd name="connsiteY10" fmla="*/ 1335882 h 2197895"/>
                <a:gd name="connsiteX11" fmla="*/ 945356 w 2500312"/>
                <a:gd name="connsiteY11" fmla="*/ 4763 h 2197895"/>
                <a:gd name="connsiteX12" fmla="*/ 283369 w 2500312"/>
                <a:gd name="connsiteY12" fmla="*/ 2381 h 2197895"/>
                <a:gd name="connsiteX13" fmla="*/ 0 w 2500312"/>
                <a:gd name="connsiteY13" fmla="*/ 2197894 h 2197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500312" h="2197895">
                  <a:moveTo>
                    <a:pt x="0" y="2197894"/>
                  </a:moveTo>
                  <a:lnTo>
                    <a:pt x="611982" y="2197894"/>
                  </a:lnTo>
                  <a:lnTo>
                    <a:pt x="723900" y="802481"/>
                  </a:lnTo>
                  <a:lnTo>
                    <a:pt x="1007270" y="2195513"/>
                  </a:lnTo>
                  <a:lnTo>
                    <a:pt x="1488282" y="2197895"/>
                  </a:lnTo>
                  <a:lnTo>
                    <a:pt x="1776411" y="809626"/>
                  </a:lnTo>
                  <a:lnTo>
                    <a:pt x="1883567" y="2195514"/>
                  </a:lnTo>
                  <a:lnTo>
                    <a:pt x="2500312" y="2197895"/>
                  </a:lnTo>
                  <a:lnTo>
                    <a:pt x="2212181" y="7145"/>
                  </a:lnTo>
                  <a:lnTo>
                    <a:pt x="1559719" y="0"/>
                  </a:lnTo>
                  <a:lnTo>
                    <a:pt x="1252537" y="1335882"/>
                  </a:lnTo>
                  <a:lnTo>
                    <a:pt x="945356" y="4763"/>
                  </a:lnTo>
                  <a:lnTo>
                    <a:pt x="283369" y="2381"/>
                  </a:lnTo>
                  <a:lnTo>
                    <a:pt x="0" y="2197894"/>
                  </a:lnTo>
                  <a:close/>
                </a:path>
              </a:pathLst>
            </a:custGeom>
            <a:solidFill>
              <a:srgbClr val="0F238D"/>
            </a:solidFill>
            <a:ln w="190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noProof="0">
                <a:solidFill>
                  <a:schemeClr val="accent1"/>
                </a:solidFill>
              </a:endParaRPr>
            </a:p>
          </p:txBody>
        </p:sp>
        <p:sp>
          <p:nvSpPr>
            <p:cNvPr id="10" name="Freeform 32">
              <a:extLst>
                <a:ext uri="{FF2B5EF4-FFF2-40B4-BE49-F238E27FC236}">
                  <a16:creationId xmlns:a16="http://schemas.microsoft.com/office/drawing/2014/main" id="{E96DE0FD-1AE2-41DE-A968-F7E5BC8CBE85}"/>
                </a:ext>
              </a:extLst>
            </p:cNvPr>
            <p:cNvSpPr/>
            <p:nvPr userDrawn="1"/>
          </p:nvSpPr>
          <p:spPr>
            <a:xfrm>
              <a:off x="8887233" y="164981"/>
              <a:ext cx="116972" cy="182397"/>
            </a:xfrm>
            <a:custGeom>
              <a:avLst/>
              <a:gdLst>
                <a:gd name="connsiteX0" fmla="*/ 0 w 1428750"/>
                <a:gd name="connsiteY0" fmla="*/ 997744 h 997744"/>
                <a:gd name="connsiteX1" fmla="*/ 1404937 w 1428750"/>
                <a:gd name="connsiteY1" fmla="*/ 997744 h 997744"/>
                <a:gd name="connsiteX2" fmla="*/ 1404937 w 1428750"/>
                <a:gd name="connsiteY2" fmla="*/ 538163 h 997744"/>
                <a:gd name="connsiteX3" fmla="*/ 1428750 w 1428750"/>
                <a:gd name="connsiteY3" fmla="*/ 540544 h 997744"/>
                <a:gd name="connsiteX4" fmla="*/ 590550 w 1428750"/>
                <a:gd name="connsiteY4" fmla="*/ 540544 h 997744"/>
                <a:gd name="connsiteX5" fmla="*/ 590550 w 1428750"/>
                <a:gd name="connsiteY5" fmla="*/ 0 h 997744"/>
                <a:gd name="connsiteX6" fmla="*/ 0 w 1428750"/>
                <a:gd name="connsiteY6" fmla="*/ 0 h 997744"/>
                <a:gd name="connsiteX7" fmla="*/ 0 w 1428750"/>
                <a:gd name="connsiteY7" fmla="*/ 997744 h 997744"/>
                <a:gd name="connsiteX0" fmla="*/ 0 w 1404937"/>
                <a:gd name="connsiteY0" fmla="*/ 997744 h 997744"/>
                <a:gd name="connsiteX1" fmla="*/ 1404937 w 1404937"/>
                <a:gd name="connsiteY1" fmla="*/ 997744 h 997744"/>
                <a:gd name="connsiteX2" fmla="*/ 1404937 w 1404937"/>
                <a:gd name="connsiteY2" fmla="*/ 538163 h 997744"/>
                <a:gd name="connsiteX3" fmla="*/ 1219200 w 1404937"/>
                <a:gd name="connsiteY3" fmla="*/ 476250 h 997744"/>
                <a:gd name="connsiteX4" fmla="*/ 590550 w 1404937"/>
                <a:gd name="connsiteY4" fmla="*/ 540544 h 997744"/>
                <a:gd name="connsiteX5" fmla="*/ 590550 w 1404937"/>
                <a:gd name="connsiteY5" fmla="*/ 0 h 997744"/>
                <a:gd name="connsiteX6" fmla="*/ 0 w 1404937"/>
                <a:gd name="connsiteY6" fmla="*/ 0 h 997744"/>
                <a:gd name="connsiteX7" fmla="*/ 0 w 1404937"/>
                <a:gd name="connsiteY7" fmla="*/ 997744 h 997744"/>
                <a:gd name="connsiteX0" fmla="*/ 0 w 1404937"/>
                <a:gd name="connsiteY0" fmla="*/ 997744 h 997744"/>
                <a:gd name="connsiteX1" fmla="*/ 1404937 w 1404937"/>
                <a:gd name="connsiteY1" fmla="*/ 997744 h 997744"/>
                <a:gd name="connsiteX2" fmla="*/ 1404937 w 1404937"/>
                <a:gd name="connsiteY2" fmla="*/ 538163 h 997744"/>
                <a:gd name="connsiteX3" fmla="*/ 590550 w 1404937"/>
                <a:gd name="connsiteY3" fmla="*/ 540544 h 997744"/>
                <a:gd name="connsiteX4" fmla="*/ 590550 w 1404937"/>
                <a:gd name="connsiteY4" fmla="*/ 0 h 997744"/>
                <a:gd name="connsiteX5" fmla="*/ 0 w 1404937"/>
                <a:gd name="connsiteY5" fmla="*/ 0 h 997744"/>
                <a:gd name="connsiteX6" fmla="*/ 0 w 1404937"/>
                <a:gd name="connsiteY6" fmla="*/ 997744 h 997744"/>
                <a:gd name="connsiteX0" fmla="*/ 0 w 1404937"/>
                <a:gd name="connsiteY0" fmla="*/ 1614488 h 1614488"/>
                <a:gd name="connsiteX1" fmla="*/ 1404937 w 1404937"/>
                <a:gd name="connsiteY1" fmla="*/ 1614488 h 1614488"/>
                <a:gd name="connsiteX2" fmla="*/ 1404937 w 1404937"/>
                <a:gd name="connsiteY2" fmla="*/ 1154907 h 1614488"/>
                <a:gd name="connsiteX3" fmla="*/ 590550 w 1404937"/>
                <a:gd name="connsiteY3" fmla="*/ 1157288 h 1614488"/>
                <a:gd name="connsiteX4" fmla="*/ 592931 w 1404937"/>
                <a:gd name="connsiteY4" fmla="*/ 0 h 1614488"/>
                <a:gd name="connsiteX5" fmla="*/ 0 w 1404937"/>
                <a:gd name="connsiteY5" fmla="*/ 616744 h 1614488"/>
                <a:gd name="connsiteX6" fmla="*/ 0 w 1404937"/>
                <a:gd name="connsiteY6" fmla="*/ 1614488 h 1614488"/>
                <a:gd name="connsiteX0" fmla="*/ 0 w 1404937"/>
                <a:gd name="connsiteY0" fmla="*/ 2188369 h 2188369"/>
                <a:gd name="connsiteX1" fmla="*/ 1404937 w 1404937"/>
                <a:gd name="connsiteY1" fmla="*/ 2188369 h 2188369"/>
                <a:gd name="connsiteX2" fmla="*/ 1404937 w 1404937"/>
                <a:gd name="connsiteY2" fmla="*/ 1728788 h 2188369"/>
                <a:gd name="connsiteX3" fmla="*/ 590550 w 1404937"/>
                <a:gd name="connsiteY3" fmla="*/ 1731169 h 2188369"/>
                <a:gd name="connsiteX4" fmla="*/ 592931 w 1404937"/>
                <a:gd name="connsiteY4" fmla="*/ 573881 h 2188369"/>
                <a:gd name="connsiteX5" fmla="*/ 2382 w 1404937"/>
                <a:gd name="connsiteY5" fmla="*/ 0 h 2188369"/>
                <a:gd name="connsiteX6" fmla="*/ 0 w 1404937"/>
                <a:gd name="connsiteY6" fmla="*/ 2188369 h 2188369"/>
                <a:gd name="connsiteX0" fmla="*/ 0 w 1404937"/>
                <a:gd name="connsiteY0" fmla="*/ 2190750 h 2190750"/>
                <a:gd name="connsiteX1" fmla="*/ 1404937 w 1404937"/>
                <a:gd name="connsiteY1" fmla="*/ 2190750 h 2190750"/>
                <a:gd name="connsiteX2" fmla="*/ 1404937 w 1404937"/>
                <a:gd name="connsiteY2" fmla="*/ 1731169 h 2190750"/>
                <a:gd name="connsiteX3" fmla="*/ 590550 w 1404937"/>
                <a:gd name="connsiteY3" fmla="*/ 1733550 h 2190750"/>
                <a:gd name="connsiteX4" fmla="*/ 592931 w 1404937"/>
                <a:gd name="connsiteY4" fmla="*/ 0 h 2190750"/>
                <a:gd name="connsiteX5" fmla="*/ 2382 w 1404937"/>
                <a:gd name="connsiteY5" fmla="*/ 2381 h 2190750"/>
                <a:gd name="connsiteX6" fmla="*/ 0 w 1404937"/>
                <a:gd name="connsiteY6" fmla="*/ 2190750 h 2190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04937" h="2190750">
                  <a:moveTo>
                    <a:pt x="0" y="2190750"/>
                  </a:moveTo>
                  <a:lnTo>
                    <a:pt x="1404937" y="2190750"/>
                  </a:lnTo>
                  <a:lnTo>
                    <a:pt x="1404937" y="1731169"/>
                  </a:lnTo>
                  <a:lnTo>
                    <a:pt x="590550" y="1733550"/>
                  </a:lnTo>
                  <a:cubicBezTo>
                    <a:pt x="591344" y="1347787"/>
                    <a:pt x="592137" y="385763"/>
                    <a:pt x="592931" y="0"/>
                  </a:cubicBezTo>
                  <a:lnTo>
                    <a:pt x="2382" y="2381"/>
                  </a:lnTo>
                  <a:cubicBezTo>
                    <a:pt x="3969" y="334962"/>
                    <a:pt x="3175" y="1858169"/>
                    <a:pt x="0" y="2190750"/>
                  </a:cubicBezTo>
                  <a:close/>
                </a:path>
              </a:pathLst>
            </a:custGeom>
            <a:solidFill>
              <a:srgbClr val="0F238D"/>
            </a:solidFill>
            <a:ln w="190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noProof="0">
                <a:solidFill>
                  <a:schemeClr val="accent1"/>
                </a:solidFill>
              </a:endParaRPr>
            </a:p>
          </p:txBody>
        </p:sp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C6767A79-DBDA-4A54-AFA4-E2487714FC85}"/>
                </a:ext>
              </a:extLst>
            </p:cNvPr>
            <p:cNvSpPr/>
            <p:nvPr userDrawn="1"/>
          </p:nvSpPr>
          <p:spPr>
            <a:xfrm>
              <a:off x="8502102" y="201462"/>
              <a:ext cx="135419" cy="149888"/>
            </a:xfrm>
            <a:custGeom>
              <a:avLst/>
              <a:gdLst>
                <a:gd name="connsiteX0" fmla="*/ 0 w 483394"/>
                <a:gd name="connsiteY0" fmla="*/ 0 h 645319"/>
                <a:gd name="connsiteX1" fmla="*/ 0 w 483394"/>
                <a:gd name="connsiteY1" fmla="*/ 528638 h 645319"/>
                <a:gd name="connsiteX2" fmla="*/ 33338 w 483394"/>
                <a:gd name="connsiteY2" fmla="*/ 528638 h 645319"/>
                <a:gd name="connsiteX3" fmla="*/ 381000 w 483394"/>
                <a:gd name="connsiteY3" fmla="*/ 645319 h 645319"/>
                <a:gd name="connsiteX4" fmla="*/ 483394 w 483394"/>
                <a:gd name="connsiteY4" fmla="*/ 216694 h 645319"/>
                <a:gd name="connsiteX5" fmla="*/ 0 w 483394"/>
                <a:gd name="connsiteY5" fmla="*/ 0 h 645319"/>
                <a:gd name="connsiteX0" fmla="*/ 0 w 1626394"/>
                <a:gd name="connsiteY0" fmla="*/ 0 h 528638"/>
                <a:gd name="connsiteX1" fmla="*/ 0 w 1626394"/>
                <a:gd name="connsiteY1" fmla="*/ 528638 h 528638"/>
                <a:gd name="connsiteX2" fmla="*/ 33338 w 1626394"/>
                <a:gd name="connsiteY2" fmla="*/ 528638 h 528638"/>
                <a:gd name="connsiteX3" fmla="*/ 1626394 w 1626394"/>
                <a:gd name="connsiteY3" fmla="*/ 7144 h 528638"/>
                <a:gd name="connsiteX4" fmla="*/ 483394 w 1626394"/>
                <a:gd name="connsiteY4" fmla="*/ 216694 h 528638"/>
                <a:gd name="connsiteX5" fmla="*/ 0 w 1626394"/>
                <a:gd name="connsiteY5" fmla="*/ 0 h 528638"/>
                <a:gd name="connsiteX0" fmla="*/ 0 w 1626394"/>
                <a:gd name="connsiteY0" fmla="*/ 0 h 528638"/>
                <a:gd name="connsiteX1" fmla="*/ 0 w 1626394"/>
                <a:gd name="connsiteY1" fmla="*/ 528638 h 528638"/>
                <a:gd name="connsiteX2" fmla="*/ 33338 w 1626394"/>
                <a:gd name="connsiteY2" fmla="*/ 528638 h 528638"/>
                <a:gd name="connsiteX3" fmla="*/ 1626394 w 1626394"/>
                <a:gd name="connsiteY3" fmla="*/ 7144 h 528638"/>
                <a:gd name="connsiteX4" fmla="*/ 483394 w 1626394"/>
                <a:gd name="connsiteY4" fmla="*/ 216694 h 528638"/>
                <a:gd name="connsiteX5" fmla="*/ 0 w 1626394"/>
                <a:gd name="connsiteY5" fmla="*/ 0 h 528638"/>
                <a:gd name="connsiteX0" fmla="*/ 0 w 1626394"/>
                <a:gd name="connsiteY0" fmla="*/ 0 h 714375"/>
                <a:gd name="connsiteX1" fmla="*/ 0 w 1626394"/>
                <a:gd name="connsiteY1" fmla="*/ 528638 h 714375"/>
                <a:gd name="connsiteX2" fmla="*/ 354807 w 1626394"/>
                <a:gd name="connsiteY2" fmla="*/ 714375 h 714375"/>
                <a:gd name="connsiteX3" fmla="*/ 1626394 w 1626394"/>
                <a:gd name="connsiteY3" fmla="*/ 7144 h 714375"/>
                <a:gd name="connsiteX4" fmla="*/ 483394 w 1626394"/>
                <a:gd name="connsiteY4" fmla="*/ 216694 h 714375"/>
                <a:gd name="connsiteX5" fmla="*/ 0 w 1626394"/>
                <a:gd name="connsiteY5" fmla="*/ 0 h 714375"/>
                <a:gd name="connsiteX0" fmla="*/ 0 w 1626394"/>
                <a:gd name="connsiteY0" fmla="*/ 0 h 528638"/>
                <a:gd name="connsiteX1" fmla="*/ 0 w 1626394"/>
                <a:gd name="connsiteY1" fmla="*/ 528638 h 528638"/>
                <a:gd name="connsiteX2" fmla="*/ 1626394 w 1626394"/>
                <a:gd name="connsiteY2" fmla="*/ 7144 h 528638"/>
                <a:gd name="connsiteX3" fmla="*/ 483394 w 1626394"/>
                <a:gd name="connsiteY3" fmla="*/ 216694 h 528638"/>
                <a:gd name="connsiteX4" fmla="*/ 0 w 1626394"/>
                <a:gd name="connsiteY4" fmla="*/ 0 h 528638"/>
                <a:gd name="connsiteX0" fmla="*/ 0 w 1626394"/>
                <a:gd name="connsiteY0" fmla="*/ 0 h 528638"/>
                <a:gd name="connsiteX1" fmla="*/ 0 w 1626394"/>
                <a:gd name="connsiteY1" fmla="*/ 528638 h 528638"/>
                <a:gd name="connsiteX2" fmla="*/ 1626394 w 1626394"/>
                <a:gd name="connsiteY2" fmla="*/ 7144 h 528638"/>
                <a:gd name="connsiteX3" fmla="*/ 483394 w 1626394"/>
                <a:gd name="connsiteY3" fmla="*/ 216694 h 528638"/>
                <a:gd name="connsiteX4" fmla="*/ 0 w 1626394"/>
                <a:gd name="connsiteY4" fmla="*/ 0 h 528638"/>
                <a:gd name="connsiteX0" fmla="*/ 0 w 1626394"/>
                <a:gd name="connsiteY0" fmla="*/ 0 h 681404"/>
                <a:gd name="connsiteX1" fmla="*/ 0 w 1626394"/>
                <a:gd name="connsiteY1" fmla="*/ 528638 h 681404"/>
                <a:gd name="connsiteX2" fmla="*/ 1626394 w 1626394"/>
                <a:gd name="connsiteY2" fmla="*/ 7144 h 681404"/>
                <a:gd name="connsiteX3" fmla="*/ 483394 w 1626394"/>
                <a:gd name="connsiteY3" fmla="*/ 216694 h 681404"/>
                <a:gd name="connsiteX4" fmla="*/ 0 w 1626394"/>
                <a:gd name="connsiteY4" fmla="*/ 0 h 681404"/>
                <a:gd name="connsiteX0" fmla="*/ 0 w 1626394"/>
                <a:gd name="connsiteY0" fmla="*/ 0 h 661055"/>
                <a:gd name="connsiteX1" fmla="*/ 0 w 1626394"/>
                <a:gd name="connsiteY1" fmla="*/ 528638 h 661055"/>
                <a:gd name="connsiteX2" fmla="*/ 1626394 w 1626394"/>
                <a:gd name="connsiteY2" fmla="*/ 7144 h 661055"/>
                <a:gd name="connsiteX3" fmla="*/ 483394 w 1626394"/>
                <a:gd name="connsiteY3" fmla="*/ 216694 h 661055"/>
                <a:gd name="connsiteX4" fmla="*/ 0 w 1626394"/>
                <a:gd name="connsiteY4" fmla="*/ 0 h 661055"/>
                <a:gd name="connsiteX0" fmla="*/ 0 w 1626394"/>
                <a:gd name="connsiteY0" fmla="*/ 0 h 678971"/>
                <a:gd name="connsiteX1" fmla="*/ 0 w 1626394"/>
                <a:gd name="connsiteY1" fmla="*/ 528638 h 678971"/>
                <a:gd name="connsiteX2" fmla="*/ 1626394 w 1626394"/>
                <a:gd name="connsiteY2" fmla="*/ 7144 h 678971"/>
                <a:gd name="connsiteX3" fmla="*/ 483394 w 1626394"/>
                <a:gd name="connsiteY3" fmla="*/ 216694 h 678971"/>
                <a:gd name="connsiteX4" fmla="*/ 0 w 1626394"/>
                <a:gd name="connsiteY4" fmla="*/ 0 h 678971"/>
                <a:gd name="connsiteX0" fmla="*/ 0 w 1626394"/>
                <a:gd name="connsiteY0" fmla="*/ 0 h 678971"/>
                <a:gd name="connsiteX1" fmla="*/ 0 w 1626394"/>
                <a:gd name="connsiteY1" fmla="*/ 528638 h 678971"/>
                <a:gd name="connsiteX2" fmla="*/ 1626394 w 1626394"/>
                <a:gd name="connsiteY2" fmla="*/ 7144 h 678971"/>
                <a:gd name="connsiteX3" fmla="*/ 621506 w 1626394"/>
                <a:gd name="connsiteY3" fmla="*/ 233363 h 678971"/>
                <a:gd name="connsiteX4" fmla="*/ 0 w 1626394"/>
                <a:gd name="connsiteY4" fmla="*/ 0 h 678971"/>
                <a:gd name="connsiteX0" fmla="*/ 0 w 1626394"/>
                <a:gd name="connsiteY0" fmla="*/ 4860 h 683831"/>
                <a:gd name="connsiteX1" fmla="*/ 0 w 1626394"/>
                <a:gd name="connsiteY1" fmla="*/ 533498 h 683831"/>
                <a:gd name="connsiteX2" fmla="*/ 1626394 w 1626394"/>
                <a:gd name="connsiteY2" fmla="*/ 12004 h 683831"/>
                <a:gd name="connsiteX3" fmla="*/ 621506 w 1626394"/>
                <a:gd name="connsiteY3" fmla="*/ 238223 h 683831"/>
                <a:gd name="connsiteX4" fmla="*/ 0 w 1626394"/>
                <a:gd name="connsiteY4" fmla="*/ 4860 h 683831"/>
                <a:gd name="connsiteX0" fmla="*/ 0 w 1626394"/>
                <a:gd name="connsiteY0" fmla="*/ 4860 h 683831"/>
                <a:gd name="connsiteX1" fmla="*/ 0 w 1626394"/>
                <a:gd name="connsiteY1" fmla="*/ 533498 h 683831"/>
                <a:gd name="connsiteX2" fmla="*/ 1626394 w 1626394"/>
                <a:gd name="connsiteY2" fmla="*/ 12004 h 683831"/>
                <a:gd name="connsiteX3" fmla="*/ 1066800 w 1626394"/>
                <a:gd name="connsiteY3" fmla="*/ 135830 h 683831"/>
                <a:gd name="connsiteX4" fmla="*/ 621506 w 1626394"/>
                <a:gd name="connsiteY4" fmla="*/ 238223 h 683831"/>
                <a:gd name="connsiteX5" fmla="*/ 0 w 1626394"/>
                <a:gd name="connsiteY5" fmla="*/ 4860 h 683831"/>
                <a:gd name="connsiteX0" fmla="*/ 0 w 1626394"/>
                <a:gd name="connsiteY0" fmla="*/ 111917 h 790888"/>
                <a:gd name="connsiteX1" fmla="*/ 0 w 1626394"/>
                <a:gd name="connsiteY1" fmla="*/ 640555 h 790888"/>
                <a:gd name="connsiteX2" fmla="*/ 1626394 w 1626394"/>
                <a:gd name="connsiteY2" fmla="*/ 119061 h 790888"/>
                <a:gd name="connsiteX3" fmla="*/ 923925 w 1626394"/>
                <a:gd name="connsiteY3" fmla="*/ 0 h 790888"/>
                <a:gd name="connsiteX4" fmla="*/ 621506 w 1626394"/>
                <a:gd name="connsiteY4" fmla="*/ 345280 h 790888"/>
                <a:gd name="connsiteX5" fmla="*/ 0 w 1626394"/>
                <a:gd name="connsiteY5" fmla="*/ 111917 h 790888"/>
                <a:gd name="connsiteX0" fmla="*/ 0 w 1626394"/>
                <a:gd name="connsiteY0" fmla="*/ 111917 h 790888"/>
                <a:gd name="connsiteX1" fmla="*/ 0 w 1626394"/>
                <a:gd name="connsiteY1" fmla="*/ 640555 h 790888"/>
                <a:gd name="connsiteX2" fmla="*/ 1626394 w 1626394"/>
                <a:gd name="connsiteY2" fmla="*/ 119061 h 790888"/>
                <a:gd name="connsiteX3" fmla="*/ 1059656 w 1626394"/>
                <a:gd name="connsiteY3" fmla="*/ 23812 h 790888"/>
                <a:gd name="connsiteX4" fmla="*/ 923925 w 1626394"/>
                <a:gd name="connsiteY4" fmla="*/ 0 h 790888"/>
                <a:gd name="connsiteX5" fmla="*/ 621506 w 1626394"/>
                <a:gd name="connsiteY5" fmla="*/ 345280 h 790888"/>
                <a:gd name="connsiteX6" fmla="*/ 0 w 1626394"/>
                <a:gd name="connsiteY6" fmla="*/ 111917 h 790888"/>
                <a:gd name="connsiteX0" fmla="*/ 0 w 1626394"/>
                <a:gd name="connsiteY0" fmla="*/ 538161 h 1217132"/>
                <a:gd name="connsiteX1" fmla="*/ 0 w 1626394"/>
                <a:gd name="connsiteY1" fmla="*/ 1066799 h 1217132"/>
                <a:gd name="connsiteX2" fmla="*/ 1626394 w 1626394"/>
                <a:gd name="connsiteY2" fmla="*/ 545305 h 1217132"/>
                <a:gd name="connsiteX3" fmla="*/ 1323974 w 1626394"/>
                <a:gd name="connsiteY3" fmla="*/ 0 h 1217132"/>
                <a:gd name="connsiteX4" fmla="*/ 923925 w 1626394"/>
                <a:gd name="connsiteY4" fmla="*/ 426244 h 1217132"/>
                <a:gd name="connsiteX5" fmla="*/ 621506 w 1626394"/>
                <a:gd name="connsiteY5" fmla="*/ 771524 h 1217132"/>
                <a:gd name="connsiteX6" fmla="*/ 0 w 1626394"/>
                <a:gd name="connsiteY6" fmla="*/ 538161 h 1217132"/>
                <a:gd name="connsiteX0" fmla="*/ 0 w 1626394"/>
                <a:gd name="connsiteY0" fmla="*/ 538161 h 1217132"/>
                <a:gd name="connsiteX1" fmla="*/ 0 w 1626394"/>
                <a:gd name="connsiteY1" fmla="*/ 1066799 h 1217132"/>
                <a:gd name="connsiteX2" fmla="*/ 1626394 w 1626394"/>
                <a:gd name="connsiteY2" fmla="*/ 545305 h 1217132"/>
                <a:gd name="connsiteX3" fmla="*/ 1323974 w 1626394"/>
                <a:gd name="connsiteY3" fmla="*/ 0 h 1217132"/>
                <a:gd name="connsiteX4" fmla="*/ 923925 w 1626394"/>
                <a:gd name="connsiteY4" fmla="*/ 426244 h 1217132"/>
                <a:gd name="connsiteX5" fmla="*/ 621506 w 1626394"/>
                <a:gd name="connsiteY5" fmla="*/ 771524 h 1217132"/>
                <a:gd name="connsiteX6" fmla="*/ 0 w 1626394"/>
                <a:gd name="connsiteY6" fmla="*/ 538161 h 1217132"/>
                <a:gd name="connsiteX0" fmla="*/ 0 w 1635310"/>
                <a:gd name="connsiteY0" fmla="*/ 538161 h 1066802"/>
                <a:gd name="connsiteX1" fmla="*/ 0 w 1635310"/>
                <a:gd name="connsiteY1" fmla="*/ 1066799 h 1066802"/>
                <a:gd name="connsiteX2" fmla="*/ 1626394 w 1635310"/>
                <a:gd name="connsiteY2" fmla="*/ 545305 h 1066802"/>
                <a:gd name="connsiteX3" fmla="*/ 1323974 w 1635310"/>
                <a:gd name="connsiteY3" fmla="*/ 0 h 1066802"/>
                <a:gd name="connsiteX4" fmla="*/ 923925 w 1635310"/>
                <a:gd name="connsiteY4" fmla="*/ 426244 h 1066802"/>
                <a:gd name="connsiteX5" fmla="*/ 621506 w 1635310"/>
                <a:gd name="connsiteY5" fmla="*/ 771524 h 1066802"/>
                <a:gd name="connsiteX6" fmla="*/ 0 w 1635310"/>
                <a:gd name="connsiteY6" fmla="*/ 538161 h 1066802"/>
                <a:gd name="connsiteX0" fmla="*/ 0 w 1632620"/>
                <a:gd name="connsiteY0" fmla="*/ 538161 h 1083110"/>
                <a:gd name="connsiteX1" fmla="*/ 0 w 1632620"/>
                <a:gd name="connsiteY1" fmla="*/ 1066799 h 1083110"/>
                <a:gd name="connsiteX2" fmla="*/ 1626394 w 1632620"/>
                <a:gd name="connsiteY2" fmla="*/ 545305 h 1083110"/>
                <a:gd name="connsiteX3" fmla="*/ 1323974 w 1632620"/>
                <a:gd name="connsiteY3" fmla="*/ 0 h 1083110"/>
                <a:gd name="connsiteX4" fmla="*/ 923925 w 1632620"/>
                <a:gd name="connsiteY4" fmla="*/ 426244 h 1083110"/>
                <a:gd name="connsiteX5" fmla="*/ 621506 w 1632620"/>
                <a:gd name="connsiteY5" fmla="*/ 771524 h 1083110"/>
                <a:gd name="connsiteX6" fmla="*/ 0 w 1632620"/>
                <a:gd name="connsiteY6" fmla="*/ 538161 h 1083110"/>
                <a:gd name="connsiteX0" fmla="*/ 0 w 1638832"/>
                <a:gd name="connsiteY0" fmla="*/ 538161 h 1079262"/>
                <a:gd name="connsiteX1" fmla="*/ 0 w 1638832"/>
                <a:gd name="connsiteY1" fmla="*/ 1066799 h 1079262"/>
                <a:gd name="connsiteX2" fmla="*/ 1626394 w 1638832"/>
                <a:gd name="connsiteY2" fmla="*/ 545305 h 1079262"/>
                <a:gd name="connsiteX3" fmla="*/ 1323974 w 1638832"/>
                <a:gd name="connsiteY3" fmla="*/ 0 h 1079262"/>
                <a:gd name="connsiteX4" fmla="*/ 923925 w 1638832"/>
                <a:gd name="connsiteY4" fmla="*/ 426244 h 1079262"/>
                <a:gd name="connsiteX5" fmla="*/ 621506 w 1638832"/>
                <a:gd name="connsiteY5" fmla="*/ 771524 h 1079262"/>
                <a:gd name="connsiteX6" fmla="*/ 0 w 1638832"/>
                <a:gd name="connsiteY6" fmla="*/ 538161 h 1079262"/>
                <a:gd name="connsiteX0" fmla="*/ 0 w 1629379"/>
                <a:gd name="connsiteY0" fmla="*/ 538161 h 1066897"/>
                <a:gd name="connsiteX1" fmla="*/ 0 w 1629379"/>
                <a:gd name="connsiteY1" fmla="*/ 1066799 h 1066897"/>
                <a:gd name="connsiteX2" fmla="*/ 1616869 w 1629379"/>
                <a:gd name="connsiteY2" fmla="*/ 409574 h 1066897"/>
                <a:gd name="connsiteX3" fmla="*/ 1323974 w 1629379"/>
                <a:gd name="connsiteY3" fmla="*/ 0 h 1066897"/>
                <a:gd name="connsiteX4" fmla="*/ 923925 w 1629379"/>
                <a:gd name="connsiteY4" fmla="*/ 426244 h 1066897"/>
                <a:gd name="connsiteX5" fmla="*/ 621506 w 1629379"/>
                <a:gd name="connsiteY5" fmla="*/ 771524 h 1066897"/>
                <a:gd name="connsiteX6" fmla="*/ 0 w 1629379"/>
                <a:gd name="connsiteY6" fmla="*/ 538161 h 1066897"/>
                <a:gd name="connsiteX0" fmla="*/ 0 w 1620913"/>
                <a:gd name="connsiteY0" fmla="*/ 538161 h 1107877"/>
                <a:gd name="connsiteX1" fmla="*/ 0 w 1620913"/>
                <a:gd name="connsiteY1" fmla="*/ 1066799 h 1107877"/>
                <a:gd name="connsiteX2" fmla="*/ 1616869 w 1620913"/>
                <a:gd name="connsiteY2" fmla="*/ 409574 h 1107877"/>
                <a:gd name="connsiteX3" fmla="*/ 1323974 w 1620913"/>
                <a:gd name="connsiteY3" fmla="*/ 0 h 1107877"/>
                <a:gd name="connsiteX4" fmla="*/ 923925 w 1620913"/>
                <a:gd name="connsiteY4" fmla="*/ 426244 h 1107877"/>
                <a:gd name="connsiteX5" fmla="*/ 621506 w 1620913"/>
                <a:gd name="connsiteY5" fmla="*/ 771524 h 1107877"/>
                <a:gd name="connsiteX6" fmla="*/ 0 w 1620913"/>
                <a:gd name="connsiteY6" fmla="*/ 538161 h 1107877"/>
                <a:gd name="connsiteX0" fmla="*/ 0 w 1620913"/>
                <a:gd name="connsiteY0" fmla="*/ 538161 h 1218265"/>
                <a:gd name="connsiteX1" fmla="*/ 0 w 1620913"/>
                <a:gd name="connsiteY1" fmla="*/ 1066799 h 1218265"/>
                <a:gd name="connsiteX2" fmla="*/ 1616869 w 1620913"/>
                <a:gd name="connsiteY2" fmla="*/ 409574 h 1218265"/>
                <a:gd name="connsiteX3" fmla="*/ 1323974 w 1620913"/>
                <a:gd name="connsiteY3" fmla="*/ 0 h 1218265"/>
                <a:gd name="connsiteX4" fmla="*/ 923925 w 1620913"/>
                <a:gd name="connsiteY4" fmla="*/ 426244 h 1218265"/>
                <a:gd name="connsiteX5" fmla="*/ 621506 w 1620913"/>
                <a:gd name="connsiteY5" fmla="*/ 771524 h 1218265"/>
                <a:gd name="connsiteX6" fmla="*/ 0 w 1620913"/>
                <a:gd name="connsiteY6" fmla="*/ 538161 h 1218265"/>
                <a:gd name="connsiteX0" fmla="*/ 0 w 1620913"/>
                <a:gd name="connsiteY0" fmla="*/ 538161 h 1066799"/>
                <a:gd name="connsiteX1" fmla="*/ 0 w 1620913"/>
                <a:gd name="connsiteY1" fmla="*/ 1066799 h 1066799"/>
                <a:gd name="connsiteX2" fmla="*/ 1616869 w 1620913"/>
                <a:gd name="connsiteY2" fmla="*/ 409574 h 1066799"/>
                <a:gd name="connsiteX3" fmla="*/ 1323974 w 1620913"/>
                <a:gd name="connsiteY3" fmla="*/ 0 h 1066799"/>
                <a:gd name="connsiteX4" fmla="*/ 923925 w 1620913"/>
                <a:gd name="connsiteY4" fmla="*/ 426244 h 1066799"/>
                <a:gd name="connsiteX5" fmla="*/ 621506 w 1620913"/>
                <a:gd name="connsiteY5" fmla="*/ 771524 h 1066799"/>
                <a:gd name="connsiteX6" fmla="*/ 0 w 1620913"/>
                <a:gd name="connsiteY6" fmla="*/ 538161 h 1066799"/>
                <a:gd name="connsiteX0" fmla="*/ 0 w 1620913"/>
                <a:gd name="connsiteY0" fmla="*/ 538161 h 1213299"/>
                <a:gd name="connsiteX1" fmla="*/ 0 w 1620913"/>
                <a:gd name="connsiteY1" fmla="*/ 1066799 h 1213299"/>
                <a:gd name="connsiteX2" fmla="*/ 1616869 w 1620913"/>
                <a:gd name="connsiteY2" fmla="*/ 409574 h 1213299"/>
                <a:gd name="connsiteX3" fmla="*/ 1323974 w 1620913"/>
                <a:gd name="connsiteY3" fmla="*/ 0 h 1213299"/>
                <a:gd name="connsiteX4" fmla="*/ 923925 w 1620913"/>
                <a:gd name="connsiteY4" fmla="*/ 426244 h 1213299"/>
                <a:gd name="connsiteX5" fmla="*/ 621506 w 1620913"/>
                <a:gd name="connsiteY5" fmla="*/ 771524 h 1213299"/>
                <a:gd name="connsiteX6" fmla="*/ 0 w 1620913"/>
                <a:gd name="connsiteY6" fmla="*/ 538161 h 1213299"/>
                <a:gd name="connsiteX0" fmla="*/ 0 w 1628230"/>
                <a:gd name="connsiteY0" fmla="*/ 538161 h 1218919"/>
                <a:gd name="connsiteX1" fmla="*/ 0 w 1628230"/>
                <a:gd name="connsiteY1" fmla="*/ 1066799 h 1218919"/>
                <a:gd name="connsiteX2" fmla="*/ 1616869 w 1628230"/>
                <a:gd name="connsiteY2" fmla="*/ 409574 h 1218919"/>
                <a:gd name="connsiteX3" fmla="*/ 1323974 w 1628230"/>
                <a:gd name="connsiteY3" fmla="*/ 0 h 1218919"/>
                <a:gd name="connsiteX4" fmla="*/ 923925 w 1628230"/>
                <a:gd name="connsiteY4" fmla="*/ 426244 h 1218919"/>
                <a:gd name="connsiteX5" fmla="*/ 621506 w 1628230"/>
                <a:gd name="connsiteY5" fmla="*/ 771524 h 1218919"/>
                <a:gd name="connsiteX6" fmla="*/ 0 w 1628230"/>
                <a:gd name="connsiteY6" fmla="*/ 538161 h 1218919"/>
                <a:gd name="connsiteX0" fmla="*/ 0 w 1628230"/>
                <a:gd name="connsiteY0" fmla="*/ 538161 h 1218919"/>
                <a:gd name="connsiteX1" fmla="*/ 0 w 1628230"/>
                <a:gd name="connsiteY1" fmla="*/ 1066799 h 1218919"/>
                <a:gd name="connsiteX2" fmla="*/ 1616869 w 1628230"/>
                <a:gd name="connsiteY2" fmla="*/ 409574 h 1218919"/>
                <a:gd name="connsiteX3" fmla="*/ 1323974 w 1628230"/>
                <a:gd name="connsiteY3" fmla="*/ 0 h 1218919"/>
                <a:gd name="connsiteX4" fmla="*/ 923925 w 1628230"/>
                <a:gd name="connsiteY4" fmla="*/ 426244 h 1218919"/>
                <a:gd name="connsiteX5" fmla="*/ 621506 w 1628230"/>
                <a:gd name="connsiteY5" fmla="*/ 771524 h 1218919"/>
                <a:gd name="connsiteX6" fmla="*/ 0 w 1628230"/>
                <a:gd name="connsiteY6" fmla="*/ 538161 h 1218919"/>
                <a:gd name="connsiteX0" fmla="*/ 0 w 1628230"/>
                <a:gd name="connsiteY0" fmla="*/ 538161 h 1218919"/>
                <a:gd name="connsiteX1" fmla="*/ 0 w 1628230"/>
                <a:gd name="connsiteY1" fmla="*/ 1066799 h 1218919"/>
                <a:gd name="connsiteX2" fmla="*/ 1616869 w 1628230"/>
                <a:gd name="connsiteY2" fmla="*/ 409574 h 1218919"/>
                <a:gd name="connsiteX3" fmla="*/ 1323974 w 1628230"/>
                <a:gd name="connsiteY3" fmla="*/ 0 h 1218919"/>
                <a:gd name="connsiteX4" fmla="*/ 923925 w 1628230"/>
                <a:gd name="connsiteY4" fmla="*/ 426244 h 1218919"/>
                <a:gd name="connsiteX5" fmla="*/ 621506 w 1628230"/>
                <a:gd name="connsiteY5" fmla="*/ 771524 h 1218919"/>
                <a:gd name="connsiteX6" fmla="*/ 0 w 1628230"/>
                <a:gd name="connsiteY6" fmla="*/ 538161 h 1218919"/>
                <a:gd name="connsiteX0" fmla="*/ 0 w 1628230"/>
                <a:gd name="connsiteY0" fmla="*/ 538161 h 1218919"/>
                <a:gd name="connsiteX1" fmla="*/ 0 w 1628230"/>
                <a:gd name="connsiteY1" fmla="*/ 1066799 h 1218919"/>
                <a:gd name="connsiteX2" fmla="*/ 1616869 w 1628230"/>
                <a:gd name="connsiteY2" fmla="*/ 409574 h 1218919"/>
                <a:gd name="connsiteX3" fmla="*/ 1323974 w 1628230"/>
                <a:gd name="connsiteY3" fmla="*/ 0 h 1218919"/>
                <a:gd name="connsiteX4" fmla="*/ 923925 w 1628230"/>
                <a:gd name="connsiteY4" fmla="*/ 426244 h 1218919"/>
                <a:gd name="connsiteX5" fmla="*/ 621506 w 1628230"/>
                <a:gd name="connsiteY5" fmla="*/ 771524 h 1218919"/>
                <a:gd name="connsiteX6" fmla="*/ 0 w 1628230"/>
                <a:gd name="connsiteY6" fmla="*/ 538161 h 1218919"/>
                <a:gd name="connsiteX0" fmla="*/ 0 w 1628230"/>
                <a:gd name="connsiteY0" fmla="*/ 538161 h 1218919"/>
                <a:gd name="connsiteX1" fmla="*/ 0 w 1628230"/>
                <a:gd name="connsiteY1" fmla="*/ 1066799 h 1218919"/>
                <a:gd name="connsiteX2" fmla="*/ 1616869 w 1628230"/>
                <a:gd name="connsiteY2" fmla="*/ 409574 h 1218919"/>
                <a:gd name="connsiteX3" fmla="*/ 1323974 w 1628230"/>
                <a:gd name="connsiteY3" fmla="*/ 0 h 1218919"/>
                <a:gd name="connsiteX4" fmla="*/ 923925 w 1628230"/>
                <a:gd name="connsiteY4" fmla="*/ 426244 h 1218919"/>
                <a:gd name="connsiteX5" fmla="*/ 621506 w 1628230"/>
                <a:gd name="connsiteY5" fmla="*/ 771524 h 1218919"/>
                <a:gd name="connsiteX6" fmla="*/ 0 w 1628230"/>
                <a:gd name="connsiteY6" fmla="*/ 538161 h 1218919"/>
                <a:gd name="connsiteX0" fmla="*/ 0 w 1632881"/>
                <a:gd name="connsiteY0" fmla="*/ 538161 h 1232035"/>
                <a:gd name="connsiteX1" fmla="*/ 0 w 1632881"/>
                <a:gd name="connsiteY1" fmla="*/ 1066799 h 1232035"/>
                <a:gd name="connsiteX2" fmla="*/ 1621631 w 1632881"/>
                <a:gd name="connsiteY2" fmla="*/ 523874 h 1232035"/>
                <a:gd name="connsiteX3" fmla="*/ 1323974 w 1632881"/>
                <a:gd name="connsiteY3" fmla="*/ 0 h 1232035"/>
                <a:gd name="connsiteX4" fmla="*/ 923925 w 1632881"/>
                <a:gd name="connsiteY4" fmla="*/ 426244 h 1232035"/>
                <a:gd name="connsiteX5" fmla="*/ 621506 w 1632881"/>
                <a:gd name="connsiteY5" fmla="*/ 771524 h 1232035"/>
                <a:gd name="connsiteX6" fmla="*/ 0 w 1632881"/>
                <a:gd name="connsiteY6" fmla="*/ 538161 h 1232035"/>
                <a:gd name="connsiteX0" fmla="*/ 0 w 1622936"/>
                <a:gd name="connsiteY0" fmla="*/ 538161 h 1236750"/>
                <a:gd name="connsiteX1" fmla="*/ 0 w 1622936"/>
                <a:gd name="connsiteY1" fmla="*/ 1066799 h 1236750"/>
                <a:gd name="connsiteX2" fmla="*/ 1621631 w 1622936"/>
                <a:gd name="connsiteY2" fmla="*/ 523874 h 1236750"/>
                <a:gd name="connsiteX3" fmla="*/ 1323974 w 1622936"/>
                <a:gd name="connsiteY3" fmla="*/ 0 h 1236750"/>
                <a:gd name="connsiteX4" fmla="*/ 923925 w 1622936"/>
                <a:gd name="connsiteY4" fmla="*/ 426244 h 1236750"/>
                <a:gd name="connsiteX5" fmla="*/ 621506 w 1622936"/>
                <a:gd name="connsiteY5" fmla="*/ 771524 h 1236750"/>
                <a:gd name="connsiteX6" fmla="*/ 0 w 1622936"/>
                <a:gd name="connsiteY6" fmla="*/ 538161 h 1236750"/>
                <a:gd name="connsiteX0" fmla="*/ 0 w 1627932"/>
                <a:gd name="connsiteY0" fmla="*/ 538161 h 1227283"/>
                <a:gd name="connsiteX1" fmla="*/ 0 w 1627932"/>
                <a:gd name="connsiteY1" fmla="*/ 1066799 h 1227283"/>
                <a:gd name="connsiteX2" fmla="*/ 1621631 w 1627932"/>
                <a:gd name="connsiteY2" fmla="*/ 523874 h 1227283"/>
                <a:gd name="connsiteX3" fmla="*/ 1323974 w 1627932"/>
                <a:gd name="connsiteY3" fmla="*/ 0 h 1227283"/>
                <a:gd name="connsiteX4" fmla="*/ 923925 w 1627932"/>
                <a:gd name="connsiteY4" fmla="*/ 426244 h 1227283"/>
                <a:gd name="connsiteX5" fmla="*/ 621506 w 1627932"/>
                <a:gd name="connsiteY5" fmla="*/ 771524 h 1227283"/>
                <a:gd name="connsiteX6" fmla="*/ 0 w 1627932"/>
                <a:gd name="connsiteY6" fmla="*/ 538161 h 1227283"/>
                <a:gd name="connsiteX0" fmla="*/ 0 w 1627932"/>
                <a:gd name="connsiteY0" fmla="*/ 538161 h 1066799"/>
                <a:gd name="connsiteX1" fmla="*/ 0 w 1627932"/>
                <a:gd name="connsiteY1" fmla="*/ 1066799 h 1066799"/>
                <a:gd name="connsiteX2" fmla="*/ 1621631 w 1627932"/>
                <a:gd name="connsiteY2" fmla="*/ 523874 h 1066799"/>
                <a:gd name="connsiteX3" fmla="*/ 1323974 w 1627932"/>
                <a:gd name="connsiteY3" fmla="*/ 0 h 1066799"/>
                <a:gd name="connsiteX4" fmla="*/ 923925 w 1627932"/>
                <a:gd name="connsiteY4" fmla="*/ 426244 h 1066799"/>
                <a:gd name="connsiteX5" fmla="*/ 621506 w 1627932"/>
                <a:gd name="connsiteY5" fmla="*/ 771524 h 1066799"/>
                <a:gd name="connsiteX6" fmla="*/ 0 w 1627932"/>
                <a:gd name="connsiteY6" fmla="*/ 538161 h 1066799"/>
                <a:gd name="connsiteX0" fmla="*/ 0 w 1627647"/>
                <a:gd name="connsiteY0" fmla="*/ 538161 h 1066799"/>
                <a:gd name="connsiteX1" fmla="*/ 0 w 1627647"/>
                <a:gd name="connsiteY1" fmla="*/ 1066799 h 1066799"/>
                <a:gd name="connsiteX2" fmla="*/ 1621631 w 1627647"/>
                <a:gd name="connsiteY2" fmla="*/ 523874 h 1066799"/>
                <a:gd name="connsiteX3" fmla="*/ 1323974 w 1627647"/>
                <a:gd name="connsiteY3" fmla="*/ 0 h 1066799"/>
                <a:gd name="connsiteX4" fmla="*/ 923925 w 1627647"/>
                <a:gd name="connsiteY4" fmla="*/ 426244 h 1066799"/>
                <a:gd name="connsiteX5" fmla="*/ 621506 w 1627647"/>
                <a:gd name="connsiteY5" fmla="*/ 771524 h 1066799"/>
                <a:gd name="connsiteX6" fmla="*/ 0 w 1627647"/>
                <a:gd name="connsiteY6" fmla="*/ 538161 h 1066799"/>
                <a:gd name="connsiteX0" fmla="*/ 0 w 1627647"/>
                <a:gd name="connsiteY0" fmla="*/ 538161 h 1066799"/>
                <a:gd name="connsiteX1" fmla="*/ 0 w 1627647"/>
                <a:gd name="connsiteY1" fmla="*/ 1066799 h 1066799"/>
                <a:gd name="connsiteX2" fmla="*/ 1621631 w 1627647"/>
                <a:gd name="connsiteY2" fmla="*/ 523874 h 1066799"/>
                <a:gd name="connsiteX3" fmla="*/ 1323974 w 1627647"/>
                <a:gd name="connsiteY3" fmla="*/ 0 h 1066799"/>
                <a:gd name="connsiteX4" fmla="*/ 923925 w 1627647"/>
                <a:gd name="connsiteY4" fmla="*/ 426244 h 1066799"/>
                <a:gd name="connsiteX5" fmla="*/ 621506 w 1627647"/>
                <a:gd name="connsiteY5" fmla="*/ 771524 h 1066799"/>
                <a:gd name="connsiteX6" fmla="*/ 0 w 1627647"/>
                <a:gd name="connsiteY6" fmla="*/ 538161 h 1066799"/>
                <a:gd name="connsiteX0" fmla="*/ 0 w 1627647"/>
                <a:gd name="connsiteY0" fmla="*/ 538161 h 1134969"/>
                <a:gd name="connsiteX1" fmla="*/ 0 w 1627647"/>
                <a:gd name="connsiteY1" fmla="*/ 1066799 h 1134969"/>
                <a:gd name="connsiteX2" fmla="*/ 1621631 w 1627647"/>
                <a:gd name="connsiteY2" fmla="*/ 523874 h 1134969"/>
                <a:gd name="connsiteX3" fmla="*/ 1323974 w 1627647"/>
                <a:gd name="connsiteY3" fmla="*/ 0 h 1134969"/>
                <a:gd name="connsiteX4" fmla="*/ 923925 w 1627647"/>
                <a:gd name="connsiteY4" fmla="*/ 426244 h 1134969"/>
                <a:gd name="connsiteX5" fmla="*/ 621506 w 1627647"/>
                <a:gd name="connsiteY5" fmla="*/ 771524 h 1134969"/>
                <a:gd name="connsiteX6" fmla="*/ 0 w 1627647"/>
                <a:gd name="connsiteY6" fmla="*/ 538161 h 1134969"/>
                <a:gd name="connsiteX0" fmla="*/ 0 w 1627647"/>
                <a:gd name="connsiteY0" fmla="*/ 538161 h 1213483"/>
                <a:gd name="connsiteX1" fmla="*/ 0 w 1627647"/>
                <a:gd name="connsiteY1" fmla="*/ 1066799 h 1213483"/>
                <a:gd name="connsiteX2" fmla="*/ 1621631 w 1627647"/>
                <a:gd name="connsiteY2" fmla="*/ 523874 h 1213483"/>
                <a:gd name="connsiteX3" fmla="*/ 1323974 w 1627647"/>
                <a:gd name="connsiteY3" fmla="*/ 0 h 1213483"/>
                <a:gd name="connsiteX4" fmla="*/ 923925 w 1627647"/>
                <a:gd name="connsiteY4" fmla="*/ 426244 h 1213483"/>
                <a:gd name="connsiteX5" fmla="*/ 621506 w 1627647"/>
                <a:gd name="connsiteY5" fmla="*/ 771524 h 1213483"/>
                <a:gd name="connsiteX6" fmla="*/ 0 w 1627647"/>
                <a:gd name="connsiteY6" fmla="*/ 538161 h 1213483"/>
                <a:gd name="connsiteX0" fmla="*/ 0 w 1627647"/>
                <a:gd name="connsiteY0" fmla="*/ 538161 h 1190326"/>
                <a:gd name="connsiteX1" fmla="*/ 0 w 1627647"/>
                <a:gd name="connsiteY1" fmla="*/ 1066799 h 1190326"/>
                <a:gd name="connsiteX2" fmla="*/ 1621631 w 1627647"/>
                <a:gd name="connsiteY2" fmla="*/ 523874 h 1190326"/>
                <a:gd name="connsiteX3" fmla="*/ 1323974 w 1627647"/>
                <a:gd name="connsiteY3" fmla="*/ 0 h 1190326"/>
                <a:gd name="connsiteX4" fmla="*/ 923925 w 1627647"/>
                <a:gd name="connsiteY4" fmla="*/ 426244 h 1190326"/>
                <a:gd name="connsiteX5" fmla="*/ 621506 w 1627647"/>
                <a:gd name="connsiteY5" fmla="*/ 771524 h 1190326"/>
                <a:gd name="connsiteX6" fmla="*/ 0 w 1627647"/>
                <a:gd name="connsiteY6" fmla="*/ 538161 h 1190326"/>
                <a:gd name="connsiteX0" fmla="*/ 0 w 1627647"/>
                <a:gd name="connsiteY0" fmla="*/ 538161 h 1219698"/>
                <a:gd name="connsiteX1" fmla="*/ 0 w 1627647"/>
                <a:gd name="connsiteY1" fmla="*/ 1066799 h 1219698"/>
                <a:gd name="connsiteX2" fmla="*/ 1621631 w 1627647"/>
                <a:gd name="connsiteY2" fmla="*/ 523874 h 1219698"/>
                <a:gd name="connsiteX3" fmla="*/ 1323974 w 1627647"/>
                <a:gd name="connsiteY3" fmla="*/ 0 h 1219698"/>
                <a:gd name="connsiteX4" fmla="*/ 923925 w 1627647"/>
                <a:gd name="connsiteY4" fmla="*/ 426244 h 1219698"/>
                <a:gd name="connsiteX5" fmla="*/ 621506 w 1627647"/>
                <a:gd name="connsiteY5" fmla="*/ 771524 h 1219698"/>
                <a:gd name="connsiteX6" fmla="*/ 0 w 1627647"/>
                <a:gd name="connsiteY6" fmla="*/ 538161 h 1219698"/>
                <a:gd name="connsiteX0" fmla="*/ 0 w 1627647"/>
                <a:gd name="connsiteY0" fmla="*/ 538161 h 1232307"/>
                <a:gd name="connsiteX1" fmla="*/ 0 w 1627647"/>
                <a:gd name="connsiteY1" fmla="*/ 1066799 h 1232307"/>
                <a:gd name="connsiteX2" fmla="*/ 1621631 w 1627647"/>
                <a:gd name="connsiteY2" fmla="*/ 523874 h 1232307"/>
                <a:gd name="connsiteX3" fmla="*/ 1323974 w 1627647"/>
                <a:gd name="connsiteY3" fmla="*/ 0 h 1232307"/>
                <a:gd name="connsiteX4" fmla="*/ 923925 w 1627647"/>
                <a:gd name="connsiteY4" fmla="*/ 426244 h 1232307"/>
                <a:gd name="connsiteX5" fmla="*/ 621506 w 1627647"/>
                <a:gd name="connsiteY5" fmla="*/ 771524 h 1232307"/>
                <a:gd name="connsiteX6" fmla="*/ 0 w 1627647"/>
                <a:gd name="connsiteY6" fmla="*/ 538161 h 1232307"/>
                <a:gd name="connsiteX0" fmla="*/ 0 w 1627647"/>
                <a:gd name="connsiteY0" fmla="*/ 538161 h 1217230"/>
                <a:gd name="connsiteX1" fmla="*/ 0 w 1627647"/>
                <a:gd name="connsiteY1" fmla="*/ 1066799 h 1217230"/>
                <a:gd name="connsiteX2" fmla="*/ 1621631 w 1627647"/>
                <a:gd name="connsiteY2" fmla="*/ 523874 h 1217230"/>
                <a:gd name="connsiteX3" fmla="*/ 1323974 w 1627647"/>
                <a:gd name="connsiteY3" fmla="*/ 0 h 1217230"/>
                <a:gd name="connsiteX4" fmla="*/ 923925 w 1627647"/>
                <a:gd name="connsiteY4" fmla="*/ 426244 h 1217230"/>
                <a:gd name="connsiteX5" fmla="*/ 621506 w 1627647"/>
                <a:gd name="connsiteY5" fmla="*/ 771524 h 1217230"/>
                <a:gd name="connsiteX6" fmla="*/ 0 w 1627647"/>
                <a:gd name="connsiteY6" fmla="*/ 538161 h 1217230"/>
                <a:gd name="connsiteX0" fmla="*/ 0 w 1627647"/>
                <a:gd name="connsiteY0" fmla="*/ 538161 h 1188997"/>
                <a:gd name="connsiteX1" fmla="*/ 0 w 1627647"/>
                <a:gd name="connsiteY1" fmla="*/ 1066799 h 1188997"/>
                <a:gd name="connsiteX2" fmla="*/ 1621631 w 1627647"/>
                <a:gd name="connsiteY2" fmla="*/ 523874 h 1188997"/>
                <a:gd name="connsiteX3" fmla="*/ 1323974 w 1627647"/>
                <a:gd name="connsiteY3" fmla="*/ 0 h 1188997"/>
                <a:gd name="connsiteX4" fmla="*/ 923925 w 1627647"/>
                <a:gd name="connsiteY4" fmla="*/ 426244 h 1188997"/>
                <a:gd name="connsiteX5" fmla="*/ 621506 w 1627647"/>
                <a:gd name="connsiteY5" fmla="*/ 771524 h 1188997"/>
                <a:gd name="connsiteX6" fmla="*/ 0 w 1627647"/>
                <a:gd name="connsiteY6" fmla="*/ 538161 h 1188997"/>
                <a:gd name="connsiteX0" fmla="*/ 0 w 1627647"/>
                <a:gd name="connsiteY0" fmla="*/ 538161 h 1216261"/>
                <a:gd name="connsiteX1" fmla="*/ 0 w 1627647"/>
                <a:gd name="connsiteY1" fmla="*/ 1066799 h 1216261"/>
                <a:gd name="connsiteX2" fmla="*/ 1621631 w 1627647"/>
                <a:gd name="connsiteY2" fmla="*/ 523874 h 1216261"/>
                <a:gd name="connsiteX3" fmla="*/ 1323974 w 1627647"/>
                <a:gd name="connsiteY3" fmla="*/ 0 h 1216261"/>
                <a:gd name="connsiteX4" fmla="*/ 923925 w 1627647"/>
                <a:gd name="connsiteY4" fmla="*/ 426244 h 1216261"/>
                <a:gd name="connsiteX5" fmla="*/ 621506 w 1627647"/>
                <a:gd name="connsiteY5" fmla="*/ 771524 h 1216261"/>
                <a:gd name="connsiteX6" fmla="*/ 0 w 1627647"/>
                <a:gd name="connsiteY6" fmla="*/ 538161 h 1216261"/>
                <a:gd name="connsiteX0" fmla="*/ 0 w 1627647"/>
                <a:gd name="connsiteY0" fmla="*/ 538161 h 1206398"/>
                <a:gd name="connsiteX1" fmla="*/ 0 w 1627647"/>
                <a:gd name="connsiteY1" fmla="*/ 1066799 h 1206398"/>
                <a:gd name="connsiteX2" fmla="*/ 1621631 w 1627647"/>
                <a:gd name="connsiteY2" fmla="*/ 523874 h 1206398"/>
                <a:gd name="connsiteX3" fmla="*/ 1323974 w 1627647"/>
                <a:gd name="connsiteY3" fmla="*/ 0 h 1206398"/>
                <a:gd name="connsiteX4" fmla="*/ 923925 w 1627647"/>
                <a:gd name="connsiteY4" fmla="*/ 426244 h 1206398"/>
                <a:gd name="connsiteX5" fmla="*/ 621506 w 1627647"/>
                <a:gd name="connsiteY5" fmla="*/ 771524 h 1206398"/>
                <a:gd name="connsiteX6" fmla="*/ 0 w 1627647"/>
                <a:gd name="connsiteY6" fmla="*/ 538161 h 1206398"/>
                <a:gd name="connsiteX0" fmla="*/ 0 w 1627647"/>
                <a:gd name="connsiteY0" fmla="*/ 538161 h 1218880"/>
                <a:gd name="connsiteX1" fmla="*/ 0 w 1627647"/>
                <a:gd name="connsiteY1" fmla="*/ 1066799 h 1218880"/>
                <a:gd name="connsiteX2" fmla="*/ 1621631 w 1627647"/>
                <a:gd name="connsiteY2" fmla="*/ 523874 h 1218880"/>
                <a:gd name="connsiteX3" fmla="*/ 1323974 w 1627647"/>
                <a:gd name="connsiteY3" fmla="*/ 0 h 1218880"/>
                <a:gd name="connsiteX4" fmla="*/ 923925 w 1627647"/>
                <a:gd name="connsiteY4" fmla="*/ 426244 h 1218880"/>
                <a:gd name="connsiteX5" fmla="*/ 621506 w 1627647"/>
                <a:gd name="connsiteY5" fmla="*/ 771524 h 1218880"/>
                <a:gd name="connsiteX6" fmla="*/ 0 w 1627647"/>
                <a:gd name="connsiteY6" fmla="*/ 538161 h 1218880"/>
                <a:gd name="connsiteX0" fmla="*/ 0 w 1627647"/>
                <a:gd name="connsiteY0" fmla="*/ 538161 h 1211596"/>
                <a:gd name="connsiteX1" fmla="*/ 0 w 1627647"/>
                <a:gd name="connsiteY1" fmla="*/ 1066799 h 1211596"/>
                <a:gd name="connsiteX2" fmla="*/ 1621631 w 1627647"/>
                <a:gd name="connsiteY2" fmla="*/ 523874 h 1211596"/>
                <a:gd name="connsiteX3" fmla="*/ 1323974 w 1627647"/>
                <a:gd name="connsiteY3" fmla="*/ 0 h 1211596"/>
                <a:gd name="connsiteX4" fmla="*/ 923925 w 1627647"/>
                <a:gd name="connsiteY4" fmla="*/ 426244 h 1211596"/>
                <a:gd name="connsiteX5" fmla="*/ 621506 w 1627647"/>
                <a:gd name="connsiteY5" fmla="*/ 771524 h 1211596"/>
                <a:gd name="connsiteX6" fmla="*/ 0 w 1627647"/>
                <a:gd name="connsiteY6" fmla="*/ 538161 h 1211596"/>
                <a:gd name="connsiteX0" fmla="*/ 0 w 1627647"/>
                <a:gd name="connsiteY0" fmla="*/ 538161 h 1217962"/>
                <a:gd name="connsiteX1" fmla="*/ 0 w 1627647"/>
                <a:gd name="connsiteY1" fmla="*/ 1066799 h 1217962"/>
                <a:gd name="connsiteX2" fmla="*/ 1621631 w 1627647"/>
                <a:gd name="connsiteY2" fmla="*/ 523874 h 1217962"/>
                <a:gd name="connsiteX3" fmla="*/ 1323974 w 1627647"/>
                <a:gd name="connsiteY3" fmla="*/ 0 h 1217962"/>
                <a:gd name="connsiteX4" fmla="*/ 923925 w 1627647"/>
                <a:gd name="connsiteY4" fmla="*/ 426244 h 1217962"/>
                <a:gd name="connsiteX5" fmla="*/ 621506 w 1627647"/>
                <a:gd name="connsiteY5" fmla="*/ 771524 h 1217962"/>
                <a:gd name="connsiteX6" fmla="*/ 0 w 1627647"/>
                <a:gd name="connsiteY6" fmla="*/ 538161 h 1217962"/>
                <a:gd name="connsiteX0" fmla="*/ 0 w 1627647"/>
                <a:gd name="connsiteY0" fmla="*/ 538161 h 1218399"/>
                <a:gd name="connsiteX1" fmla="*/ 0 w 1627647"/>
                <a:gd name="connsiteY1" fmla="*/ 1066799 h 1218399"/>
                <a:gd name="connsiteX2" fmla="*/ 1621631 w 1627647"/>
                <a:gd name="connsiteY2" fmla="*/ 523874 h 1218399"/>
                <a:gd name="connsiteX3" fmla="*/ 1323974 w 1627647"/>
                <a:gd name="connsiteY3" fmla="*/ 0 h 1218399"/>
                <a:gd name="connsiteX4" fmla="*/ 923925 w 1627647"/>
                <a:gd name="connsiteY4" fmla="*/ 426244 h 1218399"/>
                <a:gd name="connsiteX5" fmla="*/ 621506 w 1627647"/>
                <a:gd name="connsiteY5" fmla="*/ 771524 h 1218399"/>
                <a:gd name="connsiteX6" fmla="*/ 0 w 1627647"/>
                <a:gd name="connsiteY6" fmla="*/ 538161 h 1218399"/>
                <a:gd name="connsiteX0" fmla="*/ 0 w 1627647"/>
                <a:gd name="connsiteY0" fmla="*/ 538161 h 1212839"/>
                <a:gd name="connsiteX1" fmla="*/ 0 w 1627647"/>
                <a:gd name="connsiteY1" fmla="*/ 1066799 h 1212839"/>
                <a:gd name="connsiteX2" fmla="*/ 1621631 w 1627647"/>
                <a:gd name="connsiteY2" fmla="*/ 523874 h 1212839"/>
                <a:gd name="connsiteX3" fmla="*/ 1323974 w 1627647"/>
                <a:gd name="connsiteY3" fmla="*/ 0 h 1212839"/>
                <a:gd name="connsiteX4" fmla="*/ 923925 w 1627647"/>
                <a:gd name="connsiteY4" fmla="*/ 426244 h 1212839"/>
                <a:gd name="connsiteX5" fmla="*/ 621506 w 1627647"/>
                <a:gd name="connsiteY5" fmla="*/ 771524 h 1212839"/>
                <a:gd name="connsiteX6" fmla="*/ 0 w 1627647"/>
                <a:gd name="connsiteY6" fmla="*/ 538161 h 1212839"/>
                <a:gd name="connsiteX0" fmla="*/ 0 w 1627647"/>
                <a:gd name="connsiteY0" fmla="*/ 538161 h 1212839"/>
                <a:gd name="connsiteX1" fmla="*/ 0 w 1627647"/>
                <a:gd name="connsiteY1" fmla="*/ 1066799 h 1212839"/>
                <a:gd name="connsiteX2" fmla="*/ 1621631 w 1627647"/>
                <a:gd name="connsiteY2" fmla="*/ 523874 h 1212839"/>
                <a:gd name="connsiteX3" fmla="*/ 1323974 w 1627647"/>
                <a:gd name="connsiteY3" fmla="*/ 0 h 1212839"/>
                <a:gd name="connsiteX4" fmla="*/ 1078707 w 1627647"/>
                <a:gd name="connsiteY4" fmla="*/ 257177 h 1212839"/>
                <a:gd name="connsiteX5" fmla="*/ 923925 w 1627647"/>
                <a:gd name="connsiteY5" fmla="*/ 426244 h 1212839"/>
                <a:gd name="connsiteX6" fmla="*/ 621506 w 1627647"/>
                <a:gd name="connsiteY6" fmla="*/ 771524 h 1212839"/>
                <a:gd name="connsiteX7" fmla="*/ 0 w 1627647"/>
                <a:gd name="connsiteY7" fmla="*/ 538161 h 1212839"/>
                <a:gd name="connsiteX0" fmla="*/ 0 w 1627647"/>
                <a:gd name="connsiteY0" fmla="*/ 538161 h 1212839"/>
                <a:gd name="connsiteX1" fmla="*/ 0 w 1627647"/>
                <a:gd name="connsiteY1" fmla="*/ 1066799 h 1212839"/>
                <a:gd name="connsiteX2" fmla="*/ 1621631 w 1627647"/>
                <a:gd name="connsiteY2" fmla="*/ 523874 h 1212839"/>
                <a:gd name="connsiteX3" fmla="*/ 1323974 w 1627647"/>
                <a:gd name="connsiteY3" fmla="*/ 0 h 1212839"/>
                <a:gd name="connsiteX4" fmla="*/ 595313 w 1627647"/>
                <a:gd name="connsiteY4" fmla="*/ 185739 h 1212839"/>
                <a:gd name="connsiteX5" fmla="*/ 923925 w 1627647"/>
                <a:gd name="connsiteY5" fmla="*/ 426244 h 1212839"/>
                <a:gd name="connsiteX6" fmla="*/ 621506 w 1627647"/>
                <a:gd name="connsiteY6" fmla="*/ 771524 h 1212839"/>
                <a:gd name="connsiteX7" fmla="*/ 0 w 1627647"/>
                <a:gd name="connsiteY7" fmla="*/ 538161 h 1212839"/>
                <a:gd name="connsiteX0" fmla="*/ 0 w 1627647"/>
                <a:gd name="connsiteY0" fmla="*/ 538161 h 1212839"/>
                <a:gd name="connsiteX1" fmla="*/ 0 w 1627647"/>
                <a:gd name="connsiteY1" fmla="*/ 1066799 h 1212839"/>
                <a:gd name="connsiteX2" fmla="*/ 1621631 w 1627647"/>
                <a:gd name="connsiteY2" fmla="*/ 523874 h 1212839"/>
                <a:gd name="connsiteX3" fmla="*/ 1323974 w 1627647"/>
                <a:gd name="connsiteY3" fmla="*/ 0 h 1212839"/>
                <a:gd name="connsiteX4" fmla="*/ 973932 w 1627647"/>
                <a:gd name="connsiteY4" fmla="*/ 85727 h 1212839"/>
                <a:gd name="connsiteX5" fmla="*/ 595313 w 1627647"/>
                <a:gd name="connsiteY5" fmla="*/ 185739 h 1212839"/>
                <a:gd name="connsiteX6" fmla="*/ 923925 w 1627647"/>
                <a:gd name="connsiteY6" fmla="*/ 426244 h 1212839"/>
                <a:gd name="connsiteX7" fmla="*/ 621506 w 1627647"/>
                <a:gd name="connsiteY7" fmla="*/ 771524 h 1212839"/>
                <a:gd name="connsiteX8" fmla="*/ 0 w 1627647"/>
                <a:gd name="connsiteY8" fmla="*/ 538161 h 1212839"/>
                <a:gd name="connsiteX0" fmla="*/ 0 w 1627647"/>
                <a:gd name="connsiteY0" fmla="*/ 745328 h 1420006"/>
                <a:gd name="connsiteX1" fmla="*/ 0 w 1627647"/>
                <a:gd name="connsiteY1" fmla="*/ 1273966 h 1420006"/>
                <a:gd name="connsiteX2" fmla="*/ 1621631 w 1627647"/>
                <a:gd name="connsiteY2" fmla="*/ 731041 h 1420006"/>
                <a:gd name="connsiteX3" fmla="*/ 1323974 w 1627647"/>
                <a:gd name="connsiteY3" fmla="*/ 207167 h 1420006"/>
                <a:gd name="connsiteX4" fmla="*/ 835820 w 1627647"/>
                <a:gd name="connsiteY4" fmla="*/ 0 h 1420006"/>
                <a:gd name="connsiteX5" fmla="*/ 595313 w 1627647"/>
                <a:gd name="connsiteY5" fmla="*/ 392906 h 1420006"/>
                <a:gd name="connsiteX6" fmla="*/ 923925 w 1627647"/>
                <a:gd name="connsiteY6" fmla="*/ 633411 h 1420006"/>
                <a:gd name="connsiteX7" fmla="*/ 621506 w 1627647"/>
                <a:gd name="connsiteY7" fmla="*/ 978691 h 1420006"/>
                <a:gd name="connsiteX8" fmla="*/ 0 w 1627647"/>
                <a:gd name="connsiteY8" fmla="*/ 745328 h 1420006"/>
                <a:gd name="connsiteX0" fmla="*/ 0 w 1591281"/>
                <a:gd name="connsiteY0" fmla="*/ 745328 h 1469663"/>
                <a:gd name="connsiteX1" fmla="*/ 0 w 1591281"/>
                <a:gd name="connsiteY1" fmla="*/ 1273966 h 1469663"/>
                <a:gd name="connsiteX2" fmla="*/ 1574006 w 1591281"/>
                <a:gd name="connsiteY2" fmla="*/ 928685 h 1469663"/>
                <a:gd name="connsiteX3" fmla="*/ 1323974 w 1591281"/>
                <a:gd name="connsiteY3" fmla="*/ 207167 h 1469663"/>
                <a:gd name="connsiteX4" fmla="*/ 835820 w 1591281"/>
                <a:gd name="connsiteY4" fmla="*/ 0 h 1469663"/>
                <a:gd name="connsiteX5" fmla="*/ 595313 w 1591281"/>
                <a:gd name="connsiteY5" fmla="*/ 392906 h 1469663"/>
                <a:gd name="connsiteX6" fmla="*/ 923925 w 1591281"/>
                <a:gd name="connsiteY6" fmla="*/ 633411 h 1469663"/>
                <a:gd name="connsiteX7" fmla="*/ 621506 w 1591281"/>
                <a:gd name="connsiteY7" fmla="*/ 978691 h 1469663"/>
                <a:gd name="connsiteX8" fmla="*/ 0 w 1591281"/>
                <a:gd name="connsiteY8" fmla="*/ 745328 h 1469663"/>
                <a:gd name="connsiteX0" fmla="*/ 0 w 1591281"/>
                <a:gd name="connsiteY0" fmla="*/ 745328 h 1425021"/>
                <a:gd name="connsiteX1" fmla="*/ 0 w 1591281"/>
                <a:gd name="connsiteY1" fmla="*/ 1273966 h 1425021"/>
                <a:gd name="connsiteX2" fmla="*/ 1574006 w 1591281"/>
                <a:gd name="connsiteY2" fmla="*/ 928685 h 1425021"/>
                <a:gd name="connsiteX3" fmla="*/ 1323974 w 1591281"/>
                <a:gd name="connsiteY3" fmla="*/ 207167 h 1425021"/>
                <a:gd name="connsiteX4" fmla="*/ 835820 w 1591281"/>
                <a:gd name="connsiteY4" fmla="*/ 0 h 1425021"/>
                <a:gd name="connsiteX5" fmla="*/ 595313 w 1591281"/>
                <a:gd name="connsiteY5" fmla="*/ 392906 h 1425021"/>
                <a:gd name="connsiteX6" fmla="*/ 923925 w 1591281"/>
                <a:gd name="connsiteY6" fmla="*/ 633411 h 1425021"/>
                <a:gd name="connsiteX7" fmla="*/ 621506 w 1591281"/>
                <a:gd name="connsiteY7" fmla="*/ 978691 h 1425021"/>
                <a:gd name="connsiteX8" fmla="*/ 0 w 1591281"/>
                <a:gd name="connsiteY8" fmla="*/ 745328 h 1425021"/>
                <a:gd name="connsiteX0" fmla="*/ 0 w 1622856"/>
                <a:gd name="connsiteY0" fmla="*/ 745328 h 1425021"/>
                <a:gd name="connsiteX1" fmla="*/ 0 w 1622856"/>
                <a:gd name="connsiteY1" fmla="*/ 1273966 h 1425021"/>
                <a:gd name="connsiteX2" fmla="*/ 1574006 w 1622856"/>
                <a:gd name="connsiteY2" fmla="*/ 928685 h 1425021"/>
                <a:gd name="connsiteX3" fmla="*/ 1323974 w 1622856"/>
                <a:gd name="connsiteY3" fmla="*/ 207167 h 1425021"/>
                <a:gd name="connsiteX4" fmla="*/ 835820 w 1622856"/>
                <a:gd name="connsiteY4" fmla="*/ 0 h 1425021"/>
                <a:gd name="connsiteX5" fmla="*/ 595313 w 1622856"/>
                <a:gd name="connsiteY5" fmla="*/ 392906 h 1425021"/>
                <a:gd name="connsiteX6" fmla="*/ 923925 w 1622856"/>
                <a:gd name="connsiteY6" fmla="*/ 633411 h 1425021"/>
                <a:gd name="connsiteX7" fmla="*/ 621506 w 1622856"/>
                <a:gd name="connsiteY7" fmla="*/ 978691 h 1425021"/>
                <a:gd name="connsiteX8" fmla="*/ 0 w 1622856"/>
                <a:gd name="connsiteY8" fmla="*/ 745328 h 1425021"/>
                <a:gd name="connsiteX0" fmla="*/ 0 w 1608710"/>
                <a:gd name="connsiteY0" fmla="*/ 745328 h 1425021"/>
                <a:gd name="connsiteX1" fmla="*/ 0 w 1608710"/>
                <a:gd name="connsiteY1" fmla="*/ 1273966 h 1425021"/>
                <a:gd name="connsiteX2" fmla="*/ 1574006 w 1608710"/>
                <a:gd name="connsiteY2" fmla="*/ 928685 h 1425021"/>
                <a:gd name="connsiteX3" fmla="*/ 1264443 w 1608710"/>
                <a:gd name="connsiteY3" fmla="*/ 166686 h 1425021"/>
                <a:gd name="connsiteX4" fmla="*/ 835820 w 1608710"/>
                <a:gd name="connsiteY4" fmla="*/ 0 h 1425021"/>
                <a:gd name="connsiteX5" fmla="*/ 595313 w 1608710"/>
                <a:gd name="connsiteY5" fmla="*/ 392906 h 1425021"/>
                <a:gd name="connsiteX6" fmla="*/ 923925 w 1608710"/>
                <a:gd name="connsiteY6" fmla="*/ 633411 h 1425021"/>
                <a:gd name="connsiteX7" fmla="*/ 621506 w 1608710"/>
                <a:gd name="connsiteY7" fmla="*/ 978691 h 1425021"/>
                <a:gd name="connsiteX8" fmla="*/ 0 w 1608710"/>
                <a:gd name="connsiteY8" fmla="*/ 745328 h 1425021"/>
                <a:gd name="connsiteX0" fmla="*/ 0 w 1623138"/>
                <a:gd name="connsiteY0" fmla="*/ 745328 h 1425021"/>
                <a:gd name="connsiteX1" fmla="*/ 0 w 1623138"/>
                <a:gd name="connsiteY1" fmla="*/ 1273966 h 1425021"/>
                <a:gd name="connsiteX2" fmla="*/ 1574006 w 1623138"/>
                <a:gd name="connsiteY2" fmla="*/ 928685 h 1425021"/>
                <a:gd name="connsiteX3" fmla="*/ 1264443 w 1623138"/>
                <a:gd name="connsiteY3" fmla="*/ 166686 h 1425021"/>
                <a:gd name="connsiteX4" fmla="*/ 835820 w 1623138"/>
                <a:gd name="connsiteY4" fmla="*/ 0 h 1425021"/>
                <a:gd name="connsiteX5" fmla="*/ 595313 w 1623138"/>
                <a:gd name="connsiteY5" fmla="*/ 392906 h 1425021"/>
                <a:gd name="connsiteX6" fmla="*/ 923925 w 1623138"/>
                <a:gd name="connsiteY6" fmla="*/ 633411 h 1425021"/>
                <a:gd name="connsiteX7" fmla="*/ 621506 w 1623138"/>
                <a:gd name="connsiteY7" fmla="*/ 978691 h 1425021"/>
                <a:gd name="connsiteX8" fmla="*/ 0 w 1623138"/>
                <a:gd name="connsiteY8" fmla="*/ 745328 h 1425021"/>
                <a:gd name="connsiteX0" fmla="*/ 0 w 1623138"/>
                <a:gd name="connsiteY0" fmla="*/ 745328 h 1425021"/>
                <a:gd name="connsiteX1" fmla="*/ 0 w 1623138"/>
                <a:gd name="connsiteY1" fmla="*/ 1273966 h 1425021"/>
                <a:gd name="connsiteX2" fmla="*/ 1574006 w 1623138"/>
                <a:gd name="connsiteY2" fmla="*/ 928685 h 1425021"/>
                <a:gd name="connsiteX3" fmla="*/ 1264443 w 1623138"/>
                <a:gd name="connsiteY3" fmla="*/ 166686 h 1425021"/>
                <a:gd name="connsiteX4" fmla="*/ 835820 w 1623138"/>
                <a:gd name="connsiteY4" fmla="*/ 0 h 1425021"/>
                <a:gd name="connsiteX5" fmla="*/ 595313 w 1623138"/>
                <a:gd name="connsiteY5" fmla="*/ 392906 h 1425021"/>
                <a:gd name="connsiteX6" fmla="*/ 923925 w 1623138"/>
                <a:gd name="connsiteY6" fmla="*/ 633411 h 1425021"/>
                <a:gd name="connsiteX7" fmla="*/ 621506 w 1623138"/>
                <a:gd name="connsiteY7" fmla="*/ 978691 h 1425021"/>
                <a:gd name="connsiteX8" fmla="*/ 0 w 1623138"/>
                <a:gd name="connsiteY8" fmla="*/ 745328 h 1425021"/>
                <a:gd name="connsiteX0" fmla="*/ 0 w 1623138"/>
                <a:gd name="connsiteY0" fmla="*/ 745328 h 1425021"/>
                <a:gd name="connsiteX1" fmla="*/ 0 w 1623138"/>
                <a:gd name="connsiteY1" fmla="*/ 1273966 h 1425021"/>
                <a:gd name="connsiteX2" fmla="*/ 1574006 w 1623138"/>
                <a:gd name="connsiteY2" fmla="*/ 928685 h 1425021"/>
                <a:gd name="connsiteX3" fmla="*/ 1264443 w 1623138"/>
                <a:gd name="connsiteY3" fmla="*/ 166686 h 1425021"/>
                <a:gd name="connsiteX4" fmla="*/ 835820 w 1623138"/>
                <a:gd name="connsiteY4" fmla="*/ 0 h 1425021"/>
                <a:gd name="connsiteX5" fmla="*/ 709613 w 1623138"/>
                <a:gd name="connsiteY5" fmla="*/ 207169 h 1425021"/>
                <a:gd name="connsiteX6" fmla="*/ 595313 w 1623138"/>
                <a:gd name="connsiteY6" fmla="*/ 392906 h 1425021"/>
                <a:gd name="connsiteX7" fmla="*/ 923925 w 1623138"/>
                <a:gd name="connsiteY7" fmla="*/ 633411 h 1425021"/>
                <a:gd name="connsiteX8" fmla="*/ 621506 w 1623138"/>
                <a:gd name="connsiteY8" fmla="*/ 978691 h 1425021"/>
                <a:gd name="connsiteX9" fmla="*/ 0 w 1623138"/>
                <a:gd name="connsiteY9" fmla="*/ 745328 h 1425021"/>
                <a:gd name="connsiteX0" fmla="*/ 0 w 1623138"/>
                <a:gd name="connsiteY0" fmla="*/ 797716 h 1477409"/>
                <a:gd name="connsiteX1" fmla="*/ 0 w 1623138"/>
                <a:gd name="connsiteY1" fmla="*/ 1326354 h 1477409"/>
                <a:gd name="connsiteX2" fmla="*/ 1574006 w 1623138"/>
                <a:gd name="connsiteY2" fmla="*/ 981073 h 1477409"/>
                <a:gd name="connsiteX3" fmla="*/ 1264443 w 1623138"/>
                <a:gd name="connsiteY3" fmla="*/ 219074 h 1477409"/>
                <a:gd name="connsiteX4" fmla="*/ 835820 w 1623138"/>
                <a:gd name="connsiteY4" fmla="*/ 52388 h 1477409"/>
                <a:gd name="connsiteX5" fmla="*/ 421482 w 1623138"/>
                <a:gd name="connsiteY5" fmla="*/ 0 h 1477409"/>
                <a:gd name="connsiteX6" fmla="*/ 595313 w 1623138"/>
                <a:gd name="connsiteY6" fmla="*/ 445294 h 1477409"/>
                <a:gd name="connsiteX7" fmla="*/ 923925 w 1623138"/>
                <a:gd name="connsiteY7" fmla="*/ 685799 h 1477409"/>
                <a:gd name="connsiteX8" fmla="*/ 621506 w 1623138"/>
                <a:gd name="connsiteY8" fmla="*/ 1031079 h 1477409"/>
                <a:gd name="connsiteX9" fmla="*/ 0 w 1623138"/>
                <a:gd name="connsiteY9" fmla="*/ 797716 h 1477409"/>
                <a:gd name="connsiteX0" fmla="*/ 0 w 1623138"/>
                <a:gd name="connsiteY0" fmla="*/ 797716 h 1477409"/>
                <a:gd name="connsiteX1" fmla="*/ 0 w 1623138"/>
                <a:gd name="connsiteY1" fmla="*/ 1326354 h 1477409"/>
                <a:gd name="connsiteX2" fmla="*/ 1574006 w 1623138"/>
                <a:gd name="connsiteY2" fmla="*/ 981073 h 1477409"/>
                <a:gd name="connsiteX3" fmla="*/ 1264443 w 1623138"/>
                <a:gd name="connsiteY3" fmla="*/ 219074 h 1477409"/>
                <a:gd name="connsiteX4" fmla="*/ 835820 w 1623138"/>
                <a:gd name="connsiteY4" fmla="*/ 52388 h 1477409"/>
                <a:gd name="connsiteX5" fmla="*/ 654844 w 1623138"/>
                <a:gd name="connsiteY5" fmla="*/ 26194 h 1477409"/>
                <a:gd name="connsiteX6" fmla="*/ 421482 w 1623138"/>
                <a:gd name="connsiteY6" fmla="*/ 0 h 1477409"/>
                <a:gd name="connsiteX7" fmla="*/ 595313 w 1623138"/>
                <a:gd name="connsiteY7" fmla="*/ 445294 h 1477409"/>
                <a:gd name="connsiteX8" fmla="*/ 923925 w 1623138"/>
                <a:gd name="connsiteY8" fmla="*/ 685799 h 1477409"/>
                <a:gd name="connsiteX9" fmla="*/ 621506 w 1623138"/>
                <a:gd name="connsiteY9" fmla="*/ 1031079 h 1477409"/>
                <a:gd name="connsiteX10" fmla="*/ 0 w 1623138"/>
                <a:gd name="connsiteY10" fmla="*/ 797716 h 1477409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652572"/>
                <a:gd name="connsiteX1" fmla="*/ 0 w 1623138"/>
                <a:gd name="connsiteY1" fmla="*/ 1647822 h 1652572"/>
                <a:gd name="connsiteX2" fmla="*/ 1574006 w 1623138"/>
                <a:gd name="connsiteY2" fmla="*/ 1302541 h 1652572"/>
                <a:gd name="connsiteX3" fmla="*/ 1264443 w 1623138"/>
                <a:gd name="connsiteY3" fmla="*/ 540542 h 1652572"/>
                <a:gd name="connsiteX4" fmla="*/ 835820 w 1623138"/>
                <a:gd name="connsiteY4" fmla="*/ 373856 h 1652572"/>
                <a:gd name="connsiteX5" fmla="*/ 807244 w 1623138"/>
                <a:gd name="connsiteY5" fmla="*/ 0 h 1652572"/>
                <a:gd name="connsiteX6" fmla="*/ 421482 w 1623138"/>
                <a:gd name="connsiteY6" fmla="*/ 321468 h 1652572"/>
                <a:gd name="connsiteX7" fmla="*/ 595313 w 1623138"/>
                <a:gd name="connsiteY7" fmla="*/ 766762 h 1652572"/>
                <a:gd name="connsiteX8" fmla="*/ 923925 w 1623138"/>
                <a:gd name="connsiteY8" fmla="*/ 1007267 h 1652572"/>
                <a:gd name="connsiteX9" fmla="*/ 621506 w 1623138"/>
                <a:gd name="connsiteY9" fmla="*/ 1352547 h 1652572"/>
                <a:gd name="connsiteX10" fmla="*/ 0 w 1623138"/>
                <a:gd name="connsiteY10" fmla="*/ 1119184 h 1652572"/>
                <a:gd name="connsiteX0" fmla="*/ 0 w 1627271"/>
                <a:gd name="connsiteY0" fmla="*/ 1119184 h 1712926"/>
                <a:gd name="connsiteX1" fmla="*/ 0 w 1627271"/>
                <a:gd name="connsiteY1" fmla="*/ 1647822 h 1712926"/>
                <a:gd name="connsiteX2" fmla="*/ 1574006 w 1627271"/>
                <a:gd name="connsiteY2" fmla="*/ 1302541 h 1712926"/>
                <a:gd name="connsiteX3" fmla="*/ 1264443 w 1627271"/>
                <a:gd name="connsiteY3" fmla="*/ 540542 h 1712926"/>
                <a:gd name="connsiteX4" fmla="*/ 835820 w 1627271"/>
                <a:gd name="connsiteY4" fmla="*/ 373856 h 1712926"/>
                <a:gd name="connsiteX5" fmla="*/ 807244 w 1627271"/>
                <a:gd name="connsiteY5" fmla="*/ 0 h 1712926"/>
                <a:gd name="connsiteX6" fmla="*/ 421482 w 1627271"/>
                <a:gd name="connsiteY6" fmla="*/ 321468 h 1712926"/>
                <a:gd name="connsiteX7" fmla="*/ 595313 w 1627271"/>
                <a:gd name="connsiteY7" fmla="*/ 766762 h 1712926"/>
                <a:gd name="connsiteX8" fmla="*/ 923925 w 1627271"/>
                <a:gd name="connsiteY8" fmla="*/ 1007267 h 1712926"/>
                <a:gd name="connsiteX9" fmla="*/ 621506 w 1627271"/>
                <a:gd name="connsiteY9" fmla="*/ 1352547 h 1712926"/>
                <a:gd name="connsiteX10" fmla="*/ 0 w 1627271"/>
                <a:gd name="connsiteY10" fmla="*/ 1119184 h 1712926"/>
                <a:gd name="connsiteX0" fmla="*/ 0 w 1627271"/>
                <a:gd name="connsiteY0" fmla="*/ 1119184 h 1797816"/>
                <a:gd name="connsiteX1" fmla="*/ 0 w 1627271"/>
                <a:gd name="connsiteY1" fmla="*/ 1647822 h 1797816"/>
                <a:gd name="connsiteX2" fmla="*/ 1574006 w 1627271"/>
                <a:gd name="connsiteY2" fmla="*/ 1302541 h 1797816"/>
                <a:gd name="connsiteX3" fmla="*/ 1264443 w 1627271"/>
                <a:gd name="connsiteY3" fmla="*/ 540542 h 1797816"/>
                <a:gd name="connsiteX4" fmla="*/ 835820 w 1627271"/>
                <a:gd name="connsiteY4" fmla="*/ 373856 h 1797816"/>
                <a:gd name="connsiteX5" fmla="*/ 807244 w 1627271"/>
                <a:gd name="connsiteY5" fmla="*/ 0 h 1797816"/>
                <a:gd name="connsiteX6" fmla="*/ 421482 w 1627271"/>
                <a:gd name="connsiteY6" fmla="*/ 321468 h 1797816"/>
                <a:gd name="connsiteX7" fmla="*/ 595313 w 1627271"/>
                <a:gd name="connsiteY7" fmla="*/ 766762 h 1797816"/>
                <a:gd name="connsiteX8" fmla="*/ 923925 w 1627271"/>
                <a:gd name="connsiteY8" fmla="*/ 1007267 h 1797816"/>
                <a:gd name="connsiteX9" fmla="*/ 621506 w 1627271"/>
                <a:gd name="connsiteY9" fmla="*/ 1352547 h 1797816"/>
                <a:gd name="connsiteX10" fmla="*/ 0 w 1627271"/>
                <a:gd name="connsiteY10" fmla="*/ 1119184 h 1797816"/>
                <a:gd name="connsiteX0" fmla="*/ 0 w 1622231"/>
                <a:gd name="connsiteY0" fmla="*/ 1119184 h 1773253"/>
                <a:gd name="connsiteX1" fmla="*/ 0 w 1622231"/>
                <a:gd name="connsiteY1" fmla="*/ 1647822 h 1773253"/>
                <a:gd name="connsiteX2" fmla="*/ 1574006 w 1622231"/>
                <a:gd name="connsiteY2" fmla="*/ 1302541 h 1773253"/>
                <a:gd name="connsiteX3" fmla="*/ 1264443 w 1622231"/>
                <a:gd name="connsiteY3" fmla="*/ 540542 h 1773253"/>
                <a:gd name="connsiteX4" fmla="*/ 835820 w 1622231"/>
                <a:gd name="connsiteY4" fmla="*/ 373856 h 1773253"/>
                <a:gd name="connsiteX5" fmla="*/ 807244 w 1622231"/>
                <a:gd name="connsiteY5" fmla="*/ 0 h 1773253"/>
                <a:gd name="connsiteX6" fmla="*/ 421482 w 1622231"/>
                <a:gd name="connsiteY6" fmla="*/ 321468 h 1773253"/>
                <a:gd name="connsiteX7" fmla="*/ 595313 w 1622231"/>
                <a:gd name="connsiteY7" fmla="*/ 766762 h 1773253"/>
                <a:gd name="connsiteX8" fmla="*/ 923925 w 1622231"/>
                <a:gd name="connsiteY8" fmla="*/ 1007267 h 1773253"/>
                <a:gd name="connsiteX9" fmla="*/ 621506 w 1622231"/>
                <a:gd name="connsiteY9" fmla="*/ 1352547 h 1773253"/>
                <a:gd name="connsiteX10" fmla="*/ 0 w 1622231"/>
                <a:gd name="connsiteY10" fmla="*/ 1119184 h 1773253"/>
                <a:gd name="connsiteX0" fmla="*/ 0 w 1622231"/>
                <a:gd name="connsiteY0" fmla="*/ 1119184 h 1800701"/>
                <a:gd name="connsiteX1" fmla="*/ 0 w 1622231"/>
                <a:gd name="connsiteY1" fmla="*/ 1647822 h 1800701"/>
                <a:gd name="connsiteX2" fmla="*/ 1574006 w 1622231"/>
                <a:gd name="connsiteY2" fmla="*/ 1302541 h 1800701"/>
                <a:gd name="connsiteX3" fmla="*/ 1264443 w 1622231"/>
                <a:gd name="connsiteY3" fmla="*/ 540542 h 1800701"/>
                <a:gd name="connsiteX4" fmla="*/ 835820 w 1622231"/>
                <a:gd name="connsiteY4" fmla="*/ 373856 h 1800701"/>
                <a:gd name="connsiteX5" fmla="*/ 807244 w 1622231"/>
                <a:gd name="connsiteY5" fmla="*/ 0 h 1800701"/>
                <a:gd name="connsiteX6" fmla="*/ 421482 w 1622231"/>
                <a:gd name="connsiteY6" fmla="*/ 321468 h 1800701"/>
                <a:gd name="connsiteX7" fmla="*/ 595313 w 1622231"/>
                <a:gd name="connsiteY7" fmla="*/ 766762 h 1800701"/>
                <a:gd name="connsiteX8" fmla="*/ 923925 w 1622231"/>
                <a:gd name="connsiteY8" fmla="*/ 1007267 h 1800701"/>
                <a:gd name="connsiteX9" fmla="*/ 621506 w 1622231"/>
                <a:gd name="connsiteY9" fmla="*/ 1352547 h 1800701"/>
                <a:gd name="connsiteX10" fmla="*/ 0 w 1622231"/>
                <a:gd name="connsiteY10" fmla="*/ 1119184 h 1800701"/>
                <a:gd name="connsiteX0" fmla="*/ 0 w 1552023"/>
                <a:gd name="connsiteY0" fmla="*/ 1119184 h 1859749"/>
                <a:gd name="connsiteX1" fmla="*/ 0 w 1552023"/>
                <a:gd name="connsiteY1" fmla="*/ 1647822 h 1859749"/>
                <a:gd name="connsiteX2" fmla="*/ 1462087 w 1552023"/>
                <a:gd name="connsiteY2" fmla="*/ 1469229 h 1859749"/>
                <a:gd name="connsiteX3" fmla="*/ 1264443 w 1552023"/>
                <a:gd name="connsiteY3" fmla="*/ 540542 h 1859749"/>
                <a:gd name="connsiteX4" fmla="*/ 835820 w 1552023"/>
                <a:gd name="connsiteY4" fmla="*/ 373856 h 1859749"/>
                <a:gd name="connsiteX5" fmla="*/ 807244 w 1552023"/>
                <a:gd name="connsiteY5" fmla="*/ 0 h 1859749"/>
                <a:gd name="connsiteX6" fmla="*/ 421482 w 1552023"/>
                <a:gd name="connsiteY6" fmla="*/ 321468 h 1859749"/>
                <a:gd name="connsiteX7" fmla="*/ 595313 w 1552023"/>
                <a:gd name="connsiteY7" fmla="*/ 766762 h 1859749"/>
                <a:gd name="connsiteX8" fmla="*/ 923925 w 1552023"/>
                <a:gd name="connsiteY8" fmla="*/ 1007267 h 1859749"/>
                <a:gd name="connsiteX9" fmla="*/ 621506 w 1552023"/>
                <a:gd name="connsiteY9" fmla="*/ 1352547 h 1859749"/>
                <a:gd name="connsiteX10" fmla="*/ 0 w 1552023"/>
                <a:gd name="connsiteY10" fmla="*/ 1119184 h 1859749"/>
                <a:gd name="connsiteX0" fmla="*/ 0 w 1571973"/>
                <a:gd name="connsiteY0" fmla="*/ 1119184 h 1800114"/>
                <a:gd name="connsiteX1" fmla="*/ 0 w 1571973"/>
                <a:gd name="connsiteY1" fmla="*/ 1647822 h 1800114"/>
                <a:gd name="connsiteX2" fmla="*/ 1462087 w 1571973"/>
                <a:gd name="connsiteY2" fmla="*/ 1469229 h 1800114"/>
                <a:gd name="connsiteX3" fmla="*/ 1264443 w 1571973"/>
                <a:gd name="connsiteY3" fmla="*/ 540542 h 1800114"/>
                <a:gd name="connsiteX4" fmla="*/ 835820 w 1571973"/>
                <a:gd name="connsiteY4" fmla="*/ 373856 h 1800114"/>
                <a:gd name="connsiteX5" fmla="*/ 807244 w 1571973"/>
                <a:gd name="connsiteY5" fmla="*/ 0 h 1800114"/>
                <a:gd name="connsiteX6" fmla="*/ 421482 w 1571973"/>
                <a:gd name="connsiteY6" fmla="*/ 321468 h 1800114"/>
                <a:gd name="connsiteX7" fmla="*/ 595313 w 1571973"/>
                <a:gd name="connsiteY7" fmla="*/ 766762 h 1800114"/>
                <a:gd name="connsiteX8" fmla="*/ 923925 w 1571973"/>
                <a:gd name="connsiteY8" fmla="*/ 1007267 h 1800114"/>
                <a:gd name="connsiteX9" fmla="*/ 621506 w 1571973"/>
                <a:gd name="connsiteY9" fmla="*/ 1352547 h 1800114"/>
                <a:gd name="connsiteX10" fmla="*/ 0 w 1571973"/>
                <a:gd name="connsiteY10" fmla="*/ 1119184 h 1800114"/>
                <a:gd name="connsiteX0" fmla="*/ 0 w 1620477"/>
                <a:gd name="connsiteY0" fmla="*/ 1119184 h 1800815"/>
                <a:gd name="connsiteX1" fmla="*/ 0 w 1620477"/>
                <a:gd name="connsiteY1" fmla="*/ 1647822 h 1800815"/>
                <a:gd name="connsiteX2" fmla="*/ 1462087 w 1620477"/>
                <a:gd name="connsiteY2" fmla="*/ 1469229 h 1800815"/>
                <a:gd name="connsiteX3" fmla="*/ 1264443 w 1620477"/>
                <a:gd name="connsiteY3" fmla="*/ 540542 h 1800815"/>
                <a:gd name="connsiteX4" fmla="*/ 835820 w 1620477"/>
                <a:gd name="connsiteY4" fmla="*/ 373856 h 1800815"/>
                <a:gd name="connsiteX5" fmla="*/ 807244 w 1620477"/>
                <a:gd name="connsiteY5" fmla="*/ 0 h 1800815"/>
                <a:gd name="connsiteX6" fmla="*/ 421482 w 1620477"/>
                <a:gd name="connsiteY6" fmla="*/ 321468 h 1800815"/>
                <a:gd name="connsiteX7" fmla="*/ 595313 w 1620477"/>
                <a:gd name="connsiteY7" fmla="*/ 766762 h 1800815"/>
                <a:gd name="connsiteX8" fmla="*/ 923925 w 1620477"/>
                <a:gd name="connsiteY8" fmla="*/ 1007267 h 1800815"/>
                <a:gd name="connsiteX9" fmla="*/ 621506 w 1620477"/>
                <a:gd name="connsiteY9" fmla="*/ 1352547 h 1800815"/>
                <a:gd name="connsiteX10" fmla="*/ 0 w 1620477"/>
                <a:gd name="connsiteY10" fmla="*/ 1119184 h 1800815"/>
                <a:gd name="connsiteX0" fmla="*/ 0 w 1629436"/>
                <a:gd name="connsiteY0" fmla="*/ 1119184 h 1799377"/>
                <a:gd name="connsiteX1" fmla="*/ 0 w 1629436"/>
                <a:gd name="connsiteY1" fmla="*/ 1647822 h 1799377"/>
                <a:gd name="connsiteX2" fmla="*/ 1476374 w 1629436"/>
                <a:gd name="connsiteY2" fmla="*/ 1464467 h 1799377"/>
                <a:gd name="connsiteX3" fmla="*/ 1264443 w 1629436"/>
                <a:gd name="connsiteY3" fmla="*/ 540542 h 1799377"/>
                <a:gd name="connsiteX4" fmla="*/ 835820 w 1629436"/>
                <a:gd name="connsiteY4" fmla="*/ 373856 h 1799377"/>
                <a:gd name="connsiteX5" fmla="*/ 807244 w 1629436"/>
                <a:gd name="connsiteY5" fmla="*/ 0 h 1799377"/>
                <a:gd name="connsiteX6" fmla="*/ 421482 w 1629436"/>
                <a:gd name="connsiteY6" fmla="*/ 321468 h 1799377"/>
                <a:gd name="connsiteX7" fmla="*/ 595313 w 1629436"/>
                <a:gd name="connsiteY7" fmla="*/ 766762 h 1799377"/>
                <a:gd name="connsiteX8" fmla="*/ 923925 w 1629436"/>
                <a:gd name="connsiteY8" fmla="*/ 1007267 h 1799377"/>
                <a:gd name="connsiteX9" fmla="*/ 621506 w 1629436"/>
                <a:gd name="connsiteY9" fmla="*/ 1352547 h 1799377"/>
                <a:gd name="connsiteX10" fmla="*/ 0 w 1629436"/>
                <a:gd name="connsiteY10" fmla="*/ 1119184 h 1799377"/>
                <a:gd name="connsiteX0" fmla="*/ 0 w 1606110"/>
                <a:gd name="connsiteY0" fmla="*/ 1119184 h 1796213"/>
                <a:gd name="connsiteX1" fmla="*/ 0 w 1606110"/>
                <a:gd name="connsiteY1" fmla="*/ 1647822 h 1796213"/>
                <a:gd name="connsiteX2" fmla="*/ 1476374 w 1606110"/>
                <a:gd name="connsiteY2" fmla="*/ 1464467 h 1796213"/>
                <a:gd name="connsiteX3" fmla="*/ 1264443 w 1606110"/>
                <a:gd name="connsiteY3" fmla="*/ 540542 h 1796213"/>
                <a:gd name="connsiteX4" fmla="*/ 835820 w 1606110"/>
                <a:gd name="connsiteY4" fmla="*/ 373856 h 1796213"/>
                <a:gd name="connsiteX5" fmla="*/ 807244 w 1606110"/>
                <a:gd name="connsiteY5" fmla="*/ 0 h 1796213"/>
                <a:gd name="connsiteX6" fmla="*/ 421482 w 1606110"/>
                <a:gd name="connsiteY6" fmla="*/ 321468 h 1796213"/>
                <a:gd name="connsiteX7" fmla="*/ 595313 w 1606110"/>
                <a:gd name="connsiteY7" fmla="*/ 766762 h 1796213"/>
                <a:gd name="connsiteX8" fmla="*/ 923925 w 1606110"/>
                <a:gd name="connsiteY8" fmla="*/ 1007267 h 1796213"/>
                <a:gd name="connsiteX9" fmla="*/ 621506 w 1606110"/>
                <a:gd name="connsiteY9" fmla="*/ 1352547 h 1796213"/>
                <a:gd name="connsiteX10" fmla="*/ 0 w 1606110"/>
                <a:gd name="connsiteY10" fmla="*/ 1119184 h 1796213"/>
                <a:gd name="connsiteX0" fmla="*/ 0 w 1625337"/>
                <a:gd name="connsiteY0" fmla="*/ 1119184 h 1796213"/>
                <a:gd name="connsiteX1" fmla="*/ 0 w 1625337"/>
                <a:gd name="connsiteY1" fmla="*/ 1647822 h 1796213"/>
                <a:gd name="connsiteX2" fmla="*/ 1476374 w 1625337"/>
                <a:gd name="connsiteY2" fmla="*/ 1464467 h 1796213"/>
                <a:gd name="connsiteX3" fmla="*/ 1264443 w 1625337"/>
                <a:gd name="connsiteY3" fmla="*/ 540542 h 1796213"/>
                <a:gd name="connsiteX4" fmla="*/ 835820 w 1625337"/>
                <a:gd name="connsiteY4" fmla="*/ 373856 h 1796213"/>
                <a:gd name="connsiteX5" fmla="*/ 807244 w 1625337"/>
                <a:gd name="connsiteY5" fmla="*/ 0 h 1796213"/>
                <a:gd name="connsiteX6" fmla="*/ 421482 w 1625337"/>
                <a:gd name="connsiteY6" fmla="*/ 321468 h 1796213"/>
                <a:gd name="connsiteX7" fmla="*/ 595313 w 1625337"/>
                <a:gd name="connsiteY7" fmla="*/ 766762 h 1796213"/>
                <a:gd name="connsiteX8" fmla="*/ 923925 w 1625337"/>
                <a:gd name="connsiteY8" fmla="*/ 1007267 h 1796213"/>
                <a:gd name="connsiteX9" fmla="*/ 621506 w 1625337"/>
                <a:gd name="connsiteY9" fmla="*/ 1352547 h 1796213"/>
                <a:gd name="connsiteX10" fmla="*/ 0 w 1625337"/>
                <a:gd name="connsiteY10" fmla="*/ 1119184 h 1796213"/>
                <a:gd name="connsiteX0" fmla="*/ 0 w 1625337"/>
                <a:gd name="connsiteY0" fmla="*/ 1119184 h 1803595"/>
                <a:gd name="connsiteX1" fmla="*/ 0 w 1625337"/>
                <a:gd name="connsiteY1" fmla="*/ 1647822 h 1803595"/>
                <a:gd name="connsiteX2" fmla="*/ 1476374 w 1625337"/>
                <a:gd name="connsiteY2" fmla="*/ 1464467 h 1803595"/>
                <a:gd name="connsiteX3" fmla="*/ 1264443 w 1625337"/>
                <a:gd name="connsiteY3" fmla="*/ 540542 h 1803595"/>
                <a:gd name="connsiteX4" fmla="*/ 835820 w 1625337"/>
                <a:gd name="connsiteY4" fmla="*/ 373856 h 1803595"/>
                <a:gd name="connsiteX5" fmla="*/ 807244 w 1625337"/>
                <a:gd name="connsiteY5" fmla="*/ 0 h 1803595"/>
                <a:gd name="connsiteX6" fmla="*/ 421482 w 1625337"/>
                <a:gd name="connsiteY6" fmla="*/ 321468 h 1803595"/>
                <a:gd name="connsiteX7" fmla="*/ 595313 w 1625337"/>
                <a:gd name="connsiteY7" fmla="*/ 766762 h 1803595"/>
                <a:gd name="connsiteX8" fmla="*/ 923925 w 1625337"/>
                <a:gd name="connsiteY8" fmla="*/ 1007267 h 1803595"/>
                <a:gd name="connsiteX9" fmla="*/ 621506 w 1625337"/>
                <a:gd name="connsiteY9" fmla="*/ 1352547 h 1803595"/>
                <a:gd name="connsiteX10" fmla="*/ 0 w 1625337"/>
                <a:gd name="connsiteY10" fmla="*/ 1119184 h 1803595"/>
                <a:gd name="connsiteX0" fmla="*/ 0 w 1625337"/>
                <a:gd name="connsiteY0" fmla="*/ 1119184 h 1799376"/>
                <a:gd name="connsiteX1" fmla="*/ 0 w 1625337"/>
                <a:gd name="connsiteY1" fmla="*/ 1647822 h 1799376"/>
                <a:gd name="connsiteX2" fmla="*/ 1476374 w 1625337"/>
                <a:gd name="connsiteY2" fmla="*/ 1464467 h 1799376"/>
                <a:gd name="connsiteX3" fmla="*/ 1264443 w 1625337"/>
                <a:gd name="connsiteY3" fmla="*/ 540542 h 1799376"/>
                <a:gd name="connsiteX4" fmla="*/ 835820 w 1625337"/>
                <a:gd name="connsiteY4" fmla="*/ 373856 h 1799376"/>
                <a:gd name="connsiteX5" fmla="*/ 807244 w 1625337"/>
                <a:gd name="connsiteY5" fmla="*/ 0 h 1799376"/>
                <a:gd name="connsiteX6" fmla="*/ 421482 w 1625337"/>
                <a:gd name="connsiteY6" fmla="*/ 321468 h 1799376"/>
                <a:gd name="connsiteX7" fmla="*/ 595313 w 1625337"/>
                <a:gd name="connsiteY7" fmla="*/ 766762 h 1799376"/>
                <a:gd name="connsiteX8" fmla="*/ 923925 w 1625337"/>
                <a:gd name="connsiteY8" fmla="*/ 1007267 h 1799376"/>
                <a:gd name="connsiteX9" fmla="*/ 621506 w 1625337"/>
                <a:gd name="connsiteY9" fmla="*/ 1352547 h 1799376"/>
                <a:gd name="connsiteX10" fmla="*/ 0 w 1625337"/>
                <a:gd name="connsiteY10" fmla="*/ 1119184 h 1799376"/>
                <a:gd name="connsiteX0" fmla="*/ 0 w 1635914"/>
                <a:gd name="connsiteY0" fmla="*/ 1119184 h 1799376"/>
                <a:gd name="connsiteX1" fmla="*/ 0 w 1635914"/>
                <a:gd name="connsiteY1" fmla="*/ 1647822 h 1799376"/>
                <a:gd name="connsiteX2" fmla="*/ 1476374 w 1635914"/>
                <a:gd name="connsiteY2" fmla="*/ 1464467 h 1799376"/>
                <a:gd name="connsiteX3" fmla="*/ 1264443 w 1635914"/>
                <a:gd name="connsiteY3" fmla="*/ 540542 h 1799376"/>
                <a:gd name="connsiteX4" fmla="*/ 835820 w 1635914"/>
                <a:gd name="connsiteY4" fmla="*/ 373856 h 1799376"/>
                <a:gd name="connsiteX5" fmla="*/ 807244 w 1635914"/>
                <a:gd name="connsiteY5" fmla="*/ 0 h 1799376"/>
                <a:gd name="connsiteX6" fmla="*/ 421482 w 1635914"/>
                <a:gd name="connsiteY6" fmla="*/ 321468 h 1799376"/>
                <a:gd name="connsiteX7" fmla="*/ 595313 w 1635914"/>
                <a:gd name="connsiteY7" fmla="*/ 766762 h 1799376"/>
                <a:gd name="connsiteX8" fmla="*/ 923925 w 1635914"/>
                <a:gd name="connsiteY8" fmla="*/ 1007267 h 1799376"/>
                <a:gd name="connsiteX9" fmla="*/ 621506 w 1635914"/>
                <a:gd name="connsiteY9" fmla="*/ 1352547 h 1799376"/>
                <a:gd name="connsiteX10" fmla="*/ 0 w 1635914"/>
                <a:gd name="connsiteY10" fmla="*/ 1119184 h 1799376"/>
                <a:gd name="connsiteX0" fmla="*/ 0 w 1720482"/>
                <a:gd name="connsiteY0" fmla="*/ 1119184 h 1772537"/>
                <a:gd name="connsiteX1" fmla="*/ 0 w 1720482"/>
                <a:gd name="connsiteY1" fmla="*/ 1647822 h 1772537"/>
                <a:gd name="connsiteX2" fmla="*/ 1476374 w 1720482"/>
                <a:gd name="connsiteY2" fmla="*/ 1464467 h 1772537"/>
                <a:gd name="connsiteX3" fmla="*/ 1397793 w 1720482"/>
                <a:gd name="connsiteY3" fmla="*/ 626267 h 1772537"/>
                <a:gd name="connsiteX4" fmla="*/ 835820 w 1720482"/>
                <a:gd name="connsiteY4" fmla="*/ 373856 h 1772537"/>
                <a:gd name="connsiteX5" fmla="*/ 807244 w 1720482"/>
                <a:gd name="connsiteY5" fmla="*/ 0 h 1772537"/>
                <a:gd name="connsiteX6" fmla="*/ 421482 w 1720482"/>
                <a:gd name="connsiteY6" fmla="*/ 321468 h 1772537"/>
                <a:gd name="connsiteX7" fmla="*/ 595313 w 1720482"/>
                <a:gd name="connsiteY7" fmla="*/ 766762 h 1772537"/>
                <a:gd name="connsiteX8" fmla="*/ 923925 w 1720482"/>
                <a:gd name="connsiteY8" fmla="*/ 1007267 h 1772537"/>
                <a:gd name="connsiteX9" fmla="*/ 621506 w 1720482"/>
                <a:gd name="connsiteY9" fmla="*/ 1352547 h 1772537"/>
                <a:gd name="connsiteX10" fmla="*/ 0 w 1720482"/>
                <a:gd name="connsiteY10" fmla="*/ 1119184 h 1772537"/>
                <a:gd name="connsiteX0" fmla="*/ 0 w 1630664"/>
                <a:gd name="connsiteY0" fmla="*/ 1119184 h 1772537"/>
                <a:gd name="connsiteX1" fmla="*/ 0 w 1630664"/>
                <a:gd name="connsiteY1" fmla="*/ 1647822 h 1772537"/>
                <a:gd name="connsiteX2" fmla="*/ 1476374 w 1630664"/>
                <a:gd name="connsiteY2" fmla="*/ 1464467 h 1772537"/>
                <a:gd name="connsiteX3" fmla="*/ 1397793 w 1630664"/>
                <a:gd name="connsiteY3" fmla="*/ 626267 h 1772537"/>
                <a:gd name="connsiteX4" fmla="*/ 835820 w 1630664"/>
                <a:gd name="connsiteY4" fmla="*/ 373856 h 1772537"/>
                <a:gd name="connsiteX5" fmla="*/ 807244 w 1630664"/>
                <a:gd name="connsiteY5" fmla="*/ 0 h 1772537"/>
                <a:gd name="connsiteX6" fmla="*/ 421482 w 1630664"/>
                <a:gd name="connsiteY6" fmla="*/ 321468 h 1772537"/>
                <a:gd name="connsiteX7" fmla="*/ 595313 w 1630664"/>
                <a:gd name="connsiteY7" fmla="*/ 766762 h 1772537"/>
                <a:gd name="connsiteX8" fmla="*/ 923925 w 1630664"/>
                <a:gd name="connsiteY8" fmla="*/ 1007267 h 1772537"/>
                <a:gd name="connsiteX9" fmla="*/ 621506 w 1630664"/>
                <a:gd name="connsiteY9" fmla="*/ 1352547 h 1772537"/>
                <a:gd name="connsiteX10" fmla="*/ 0 w 1630664"/>
                <a:gd name="connsiteY10" fmla="*/ 1119184 h 1772537"/>
                <a:gd name="connsiteX0" fmla="*/ 0 w 1615856"/>
                <a:gd name="connsiteY0" fmla="*/ 1119184 h 1800557"/>
                <a:gd name="connsiteX1" fmla="*/ 0 w 1615856"/>
                <a:gd name="connsiteY1" fmla="*/ 1647822 h 1800557"/>
                <a:gd name="connsiteX2" fmla="*/ 1476374 w 1615856"/>
                <a:gd name="connsiteY2" fmla="*/ 1464467 h 1800557"/>
                <a:gd name="connsiteX3" fmla="*/ 1397793 w 1615856"/>
                <a:gd name="connsiteY3" fmla="*/ 626267 h 1800557"/>
                <a:gd name="connsiteX4" fmla="*/ 835820 w 1615856"/>
                <a:gd name="connsiteY4" fmla="*/ 373856 h 1800557"/>
                <a:gd name="connsiteX5" fmla="*/ 807244 w 1615856"/>
                <a:gd name="connsiteY5" fmla="*/ 0 h 1800557"/>
                <a:gd name="connsiteX6" fmla="*/ 421482 w 1615856"/>
                <a:gd name="connsiteY6" fmla="*/ 321468 h 1800557"/>
                <a:gd name="connsiteX7" fmla="*/ 595313 w 1615856"/>
                <a:gd name="connsiteY7" fmla="*/ 766762 h 1800557"/>
                <a:gd name="connsiteX8" fmla="*/ 923925 w 1615856"/>
                <a:gd name="connsiteY8" fmla="*/ 1007267 h 1800557"/>
                <a:gd name="connsiteX9" fmla="*/ 621506 w 1615856"/>
                <a:gd name="connsiteY9" fmla="*/ 1352547 h 1800557"/>
                <a:gd name="connsiteX10" fmla="*/ 0 w 1615856"/>
                <a:gd name="connsiteY10" fmla="*/ 1119184 h 1800557"/>
                <a:gd name="connsiteX0" fmla="*/ 0 w 1626496"/>
                <a:gd name="connsiteY0" fmla="*/ 1119184 h 1800277"/>
                <a:gd name="connsiteX1" fmla="*/ 0 w 1626496"/>
                <a:gd name="connsiteY1" fmla="*/ 1647822 h 1800277"/>
                <a:gd name="connsiteX2" fmla="*/ 1476374 w 1626496"/>
                <a:gd name="connsiteY2" fmla="*/ 1464467 h 1800277"/>
                <a:gd name="connsiteX3" fmla="*/ 1397793 w 1626496"/>
                <a:gd name="connsiteY3" fmla="*/ 626267 h 1800277"/>
                <a:gd name="connsiteX4" fmla="*/ 835820 w 1626496"/>
                <a:gd name="connsiteY4" fmla="*/ 373856 h 1800277"/>
                <a:gd name="connsiteX5" fmla="*/ 807244 w 1626496"/>
                <a:gd name="connsiteY5" fmla="*/ 0 h 1800277"/>
                <a:gd name="connsiteX6" fmla="*/ 421482 w 1626496"/>
                <a:gd name="connsiteY6" fmla="*/ 321468 h 1800277"/>
                <a:gd name="connsiteX7" fmla="*/ 595313 w 1626496"/>
                <a:gd name="connsiteY7" fmla="*/ 766762 h 1800277"/>
                <a:gd name="connsiteX8" fmla="*/ 923925 w 1626496"/>
                <a:gd name="connsiteY8" fmla="*/ 1007267 h 1800277"/>
                <a:gd name="connsiteX9" fmla="*/ 621506 w 1626496"/>
                <a:gd name="connsiteY9" fmla="*/ 1352547 h 1800277"/>
                <a:gd name="connsiteX10" fmla="*/ 0 w 1626496"/>
                <a:gd name="connsiteY10" fmla="*/ 1119184 h 18002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26496" h="1800277">
                  <a:moveTo>
                    <a:pt x="0" y="1119184"/>
                  </a:moveTo>
                  <a:lnTo>
                    <a:pt x="0" y="1647822"/>
                  </a:lnTo>
                  <a:cubicBezTo>
                    <a:pt x="686196" y="1947462"/>
                    <a:pt x="1196953" y="1762179"/>
                    <a:pt x="1476374" y="1464467"/>
                  </a:cubicBezTo>
                  <a:cubicBezTo>
                    <a:pt x="1699180" y="1227076"/>
                    <a:pt x="1674781" y="817990"/>
                    <a:pt x="1397793" y="626267"/>
                  </a:cubicBezTo>
                  <a:cubicBezTo>
                    <a:pt x="1228944" y="509394"/>
                    <a:pt x="1023144" y="457993"/>
                    <a:pt x="835820" y="373856"/>
                  </a:cubicBezTo>
                  <a:cubicBezTo>
                    <a:pt x="676275" y="325437"/>
                    <a:pt x="542926" y="112711"/>
                    <a:pt x="807244" y="0"/>
                  </a:cubicBezTo>
                  <a:cubicBezTo>
                    <a:pt x="507207" y="50006"/>
                    <a:pt x="440530" y="235745"/>
                    <a:pt x="421482" y="321468"/>
                  </a:cubicBezTo>
                  <a:cubicBezTo>
                    <a:pt x="362745" y="574674"/>
                    <a:pt x="546894" y="723107"/>
                    <a:pt x="595313" y="766762"/>
                  </a:cubicBezTo>
                  <a:cubicBezTo>
                    <a:pt x="664369" y="835024"/>
                    <a:pt x="857250" y="884236"/>
                    <a:pt x="923925" y="1007267"/>
                  </a:cubicBezTo>
                  <a:cubicBezTo>
                    <a:pt x="992188" y="1158079"/>
                    <a:pt x="883541" y="1334500"/>
                    <a:pt x="621506" y="1352547"/>
                  </a:cubicBezTo>
                  <a:cubicBezTo>
                    <a:pt x="455755" y="1363963"/>
                    <a:pt x="205977" y="1265235"/>
                    <a:pt x="0" y="1119184"/>
                  </a:cubicBezTo>
                  <a:close/>
                </a:path>
              </a:pathLst>
            </a:custGeom>
            <a:solidFill>
              <a:srgbClr val="0F238D"/>
            </a:solidFill>
            <a:ln w="127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noProof="0">
                <a:solidFill>
                  <a:schemeClr val="accent1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EC753991-9172-4C15-B839-FF950A24039B}"/>
                </a:ext>
              </a:extLst>
            </p:cNvPr>
            <p:cNvSpPr/>
            <p:nvPr userDrawn="1"/>
          </p:nvSpPr>
          <p:spPr>
            <a:xfrm>
              <a:off x="8504651" y="159540"/>
              <a:ext cx="118940" cy="68882"/>
            </a:xfrm>
            <a:custGeom>
              <a:avLst/>
              <a:gdLst>
                <a:gd name="connsiteX0" fmla="*/ 1404937 w 1404937"/>
                <a:gd name="connsiteY0" fmla="*/ 635794 h 788194"/>
                <a:gd name="connsiteX1" fmla="*/ 1402556 w 1404937"/>
                <a:gd name="connsiteY1" fmla="*/ 64294 h 788194"/>
                <a:gd name="connsiteX2" fmla="*/ 547687 w 1404937"/>
                <a:gd name="connsiteY2" fmla="*/ 0 h 788194"/>
                <a:gd name="connsiteX3" fmla="*/ 14287 w 1404937"/>
                <a:gd name="connsiteY3" fmla="*/ 469106 h 788194"/>
                <a:gd name="connsiteX4" fmla="*/ 0 w 1404937"/>
                <a:gd name="connsiteY4" fmla="*/ 788194 h 788194"/>
                <a:gd name="connsiteX5" fmla="*/ 283368 w 1404937"/>
                <a:gd name="connsiteY5" fmla="*/ 438150 h 788194"/>
                <a:gd name="connsiteX6" fmla="*/ 821531 w 1404937"/>
                <a:gd name="connsiteY6" fmla="*/ 371475 h 788194"/>
                <a:gd name="connsiteX7" fmla="*/ 1404937 w 1404937"/>
                <a:gd name="connsiteY7" fmla="*/ 635794 h 788194"/>
                <a:gd name="connsiteX0" fmla="*/ 1404937 w 1404937"/>
                <a:gd name="connsiteY0" fmla="*/ 635794 h 788194"/>
                <a:gd name="connsiteX1" fmla="*/ 1402556 w 1404937"/>
                <a:gd name="connsiteY1" fmla="*/ 64294 h 788194"/>
                <a:gd name="connsiteX2" fmla="*/ 547687 w 1404937"/>
                <a:gd name="connsiteY2" fmla="*/ 0 h 788194"/>
                <a:gd name="connsiteX3" fmla="*/ 14287 w 1404937"/>
                <a:gd name="connsiteY3" fmla="*/ 469106 h 788194"/>
                <a:gd name="connsiteX4" fmla="*/ 0 w 1404937"/>
                <a:gd name="connsiteY4" fmla="*/ 788194 h 788194"/>
                <a:gd name="connsiteX5" fmla="*/ 283368 w 1404937"/>
                <a:gd name="connsiteY5" fmla="*/ 438150 h 788194"/>
                <a:gd name="connsiteX6" fmla="*/ 821531 w 1404937"/>
                <a:gd name="connsiteY6" fmla="*/ 371475 h 788194"/>
                <a:gd name="connsiteX7" fmla="*/ 1404937 w 1404937"/>
                <a:gd name="connsiteY7" fmla="*/ 635794 h 788194"/>
                <a:gd name="connsiteX0" fmla="*/ 1404937 w 1404937"/>
                <a:gd name="connsiteY0" fmla="*/ 635794 h 788194"/>
                <a:gd name="connsiteX1" fmla="*/ 1402556 w 1404937"/>
                <a:gd name="connsiteY1" fmla="*/ 64294 h 788194"/>
                <a:gd name="connsiteX2" fmla="*/ 547687 w 1404937"/>
                <a:gd name="connsiteY2" fmla="*/ 0 h 788194"/>
                <a:gd name="connsiteX3" fmla="*/ 14287 w 1404937"/>
                <a:gd name="connsiteY3" fmla="*/ 469106 h 788194"/>
                <a:gd name="connsiteX4" fmla="*/ 0 w 1404937"/>
                <a:gd name="connsiteY4" fmla="*/ 788194 h 788194"/>
                <a:gd name="connsiteX5" fmla="*/ 283368 w 1404937"/>
                <a:gd name="connsiteY5" fmla="*/ 438150 h 788194"/>
                <a:gd name="connsiteX6" fmla="*/ 821531 w 1404937"/>
                <a:gd name="connsiteY6" fmla="*/ 371475 h 788194"/>
                <a:gd name="connsiteX7" fmla="*/ 1404937 w 1404937"/>
                <a:gd name="connsiteY7" fmla="*/ 635794 h 788194"/>
                <a:gd name="connsiteX0" fmla="*/ 1404937 w 1404937"/>
                <a:gd name="connsiteY0" fmla="*/ 635794 h 788194"/>
                <a:gd name="connsiteX1" fmla="*/ 1402556 w 1404937"/>
                <a:gd name="connsiteY1" fmla="*/ 64294 h 788194"/>
                <a:gd name="connsiteX2" fmla="*/ 547687 w 1404937"/>
                <a:gd name="connsiteY2" fmla="*/ 0 h 788194"/>
                <a:gd name="connsiteX3" fmla="*/ 14287 w 1404937"/>
                <a:gd name="connsiteY3" fmla="*/ 469106 h 788194"/>
                <a:gd name="connsiteX4" fmla="*/ 0 w 1404937"/>
                <a:gd name="connsiteY4" fmla="*/ 788194 h 788194"/>
                <a:gd name="connsiteX5" fmla="*/ 283368 w 1404937"/>
                <a:gd name="connsiteY5" fmla="*/ 438150 h 788194"/>
                <a:gd name="connsiteX6" fmla="*/ 821531 w 1404937"/>
                <a:gd name="connsiteY6" fmla="*/ 371475 h 788194"/>
                <a:gd name="connsiteX7" fmla="*/ 1404937 w 1404937"/>
                <a:gd name="connsiteY7" fmla="*/ 635794 h 788194"/>
                <a:gd name="connsiteX0" fmla="*/ 1404937 w 1404937"/>
                <a:gd name="connsiteY0" fmla="*/ 635794 h 788194"/>
                <a:gd name="connsiteX1" fmla="*/ 1402556 w 1404937"/>
                <a:gd name="connsiteY1" fmla="*/ 64294 h 788194"/>
                <a:gd name="connsiteX2" fmla="*/ 547687 w 1404937"/>
                <a:gd name="connsiteY2" fmla="*/ 0 h 788194"/>
                <a:gd name="connsiteX3" fmla="*/ 14287 w 1404937"/>
                <a:gd name="connsiteY3" fmla="*/ 469106 h 788194"/>
                <a:gd name="connsiteX4" fmla="*/ 0 w 1404937"/>
                <a:gd name="connsiteY4" fmla="*/ 788194 h 788194"/>
                <a:gd name="connsiteX5" fmla="*/ 283368 w 1404937"/>
                <a:gd name="connsiteY5" fmla="*/ 438150 h 788194"/>
                <a:gd name="connsiteX6" fmla="*/ 821531 w 1404937"/>
                <a:gd name="connsiteY6" fmla="*/ 371475 h 788194"/>
                <a:gd name="connsiteX7" fmla="*/ 1404937 w 1404937"/>
                <a:gd name="connsiteY7" fmla="*/ 635794 h 788194"/>
                <a:gd name="connsiteX0" fmla="*/ 1404937 w 1404937"/>
                <a:gd name="connsiteY0" fmla="*/ 635794 h 788194"/>
                <a:gd name="connsiteX1" fmla="*/ 1402556 w 1404937"/>
                <a:gd name="connsiteY1" fmla="*/ 64294 h 788194"/>
                <a:gd name="connsiteX2" fmla="*/ 547687 w 1404937"/>
                <a:gd name="connsiteY2" fmla="*/ 0 h 788194"/>
                <a:gd name="connsiteX3" fmla="*/ 14287 w 1404937"/>
                <a:gd name="connsiteY3" fmla="*/ 469106 h 788194"/>
                <a:gd name="connsiteX4" fmla="*/ 0 w 1404937"/>
                <a:gd name="connsiteY4" fmla="*/ 788194 h 788194"/>
                <a:gd name="connsiteX5" fmla="*/ 283368 w 1404937"/>
                <a:gd name="connsiteY5" fmla="*/ 438150 h 788194"/>
                <a:gd name="connsiteX6" fmla="*/ 821531 w 1404937"/>
                <a:gd name="connsiteY6" fmla="*/ 371475 h 788194"/>
                <a:gd name="connsiteX7" fmla="*/ 1404937 w 1404937"/>
                <a:gd name="connsiteY7" fmla="*/ 635794 h 788194"/>
                <a:gd name="connsiteX0" fmla="*/ 1404937 w 1404937"/>
                <a:gd name="connsiteY0" fmla="*/ 635794 h 788194"/>
                <a:gd name="connsiteX1" fmla="*/ 1402556 w 1404937"/>
                <a:gd name="connsiteY1" fmla="*/ 64294 h 788194"/>
                <a:gd name="connsiteX2" fmla="*/ 547687 w 1404937"/>
                <a:gd name="connsiteY2" fmla="*/ 0 h 788194"/>
                <a:gd name="connsiteX3" fmla="*/ 14287 w 1404937"/>
                <a:gd name="connsiteY3" fmla="*/ 469106 h 788194"/>
                <a:gd name="connsiteX4" fmla="*/ 0 w 1404937"/>
                <a:gd name="connsiteY4" fmla="*/ 788194 h 788194"/>
                <a:gd name="connsiteX5" fmla="*/ 283368 w 1404937"/>
                <a:gd name="connsiteY5" fmla="*/ 438150 h 788194"/>
                <a:gd name="connsiteX6" fmla="*/ 821531 w 1404937"/>
                <a:gd name="connsiteY6" fmla="*/ 371475 h 788194"/>
                <a:gd name="connsiteX7" fmla="*/ 1404937 w 1404937"/>
                <a:gd name="connsiteY7" fmla="*/ 635794 h 788194"/>
                <a:gd name="connsiteX0" fmla="*/ 1404937 w 1404937"/>
                <a:gd name="connsiteY0" fmla="*/ 635794 h 788194"/>
                <a:gd name="connsiteX1" fmla="*/ 1402556 w 1404937"/>
                <a:gd name="connsiteY1" fmla="*/ 64294 h 788194"/>
                <a:gd name="connsiteX2" fmla="*/ 547687 w 1404937"/>
                <a:gd name="connsiteY2" fmla="*/ 0 h 788194"/>
                <a:gd name="connsiteX3" fmla="*/ 14287 w 1404937"/>
                <a:gd name="connsiteY3" fmla="*/ 469106 h 788194"/>
                <a:gd name="connsiteX4" fmla="*/ 0 w 1404937"/>
                <a:gd name="connsiteY4" fmla="*/ 788194 h 788194"/>
                <a:gd name="connsiteX5" fmla="*/ 283368 w 1404937"/>
                <a:gd name="connsiteY5" fmla="*/ 438150 h 788194"/>
                <a:gd name="connsiteX6" fmla="*/ 821531 w 1404937"/>
                <a:gd name="connsiteY6" fmla="*/ 371475 h 788194"/>
                <a:gd name="connsiteX7" fmla="*/ 1404937 w 1404937"/>
                <a:gd name="connsiteY7" fmla="*/ 635794 h 788194"/>
                <a:gd name="connsiteX0" fmla="*/ 1404937 w 1404937"/>
                <a:gd name="connsiteY0" fmla="*/ 635794 h 788194"/>
                <a:gd name="connsiteX1" fmla="*/ 1402556 w 1404937"/>
                <a:gd name="connsiteY1" fmla="*/ 64294 h 788194"/>
                <a:gd name="connsiteX2" fmla="*/ 547687 w 1404937"/>
                <a:gd name="connsiteY2" fmla="*/ 0 h 788194"/>
                <a:gd name="connsiteX3" fmla="*/ 14287 w 1404937"/>
                <a:gd name="connsiteY3" fmla="*/ 469106 h 788194"/>
                <a:gd name="connsiteX4" fmla="*/ 0 w 1404937"/>
                <a:gd name="connsiteY4" fmla="*/ 788194 h 788194"/>
                <a:gd name="connsiteX5" fmla="*/ 283368 w 1404937"/>
                <a:gd name="connsiteY5" fmla="*/ 438150 h 788194"/>
                <a:gd name="connsiteX6" fmla="*/ 821531 w 1404937"/>
                <a:gd name="connsiteY6" fmla="*/ 371475 h 788194"/>
                <a:gd name="connsiteX7" fmla="*/ 1404937 w 1404937"/>
                <a:gd name="connsiteY7" fmla="*/ 635794 h 788194"/>
                <a:gd name="connsiteX0" fmla="*/ 1404937 w 1413690"/>
                <a:gd name="connsiteY0" fmla="*/ 635794 h 788194"/>
                <a:gd name="connsiteX1" fmla="*/ 1402556 w 1413690"/>
                <a:gd name="connsiteY1" fmla="*/ 64294 h 788194"/>
                <a:gd name="connsiteX2" fmla="*/ 547687 w 1413690"/>
                <a:gd name="connsiteY2" fmla="*/ 0 h 788194"/>
                <a:gd name="connsiteX3" fmla="*/ 14287 w 1413690"/>
                <a:gd name="connsiteY3" fmla="*/ 469106 h 788194"/>
                <a:gd name="connsiteX4" fmla="*/ 0 w 1413690"/>
                <a:gd name="connsiteY4" fmla="*/ 788194 h 788194"/>
                <a:gd name="connsiteX5" fmla="*/ 283368 w 1413690"/>
                <a:gd name="connsiteY5" fmla="*/ 438150 h 788194"/>
                <a:gd name="connsiteX6" fmla="*/ 821531 w 1413690"/>
                <a:gd name="connsiteY6" fmla="*/ 371475 h 788194"/>
                <a:gd name="connsiteX7" fmla="*/ 1404937 w 1413690"/>
                <a:gd name="connsiteY7" fmla="*/ 635794 h 788194"/>
                <a:gd name="connsiteX0" fmla="*/ 1404937 w 1417413"/>
                <a:gd name="connsiteY0" fmla="*/ 635794 h 788194"/>
                <a:gd name="connsiteX1" fmla="*/ 1402556 w 1417413"/>
                <a:gd name="connsiteY1" fmla="*/ 64294 h 788194"/>
                <a:gd name="connsiteX2" fmla="*/ 547687 w 1417413"/>
                <a:gd name="connsiteY2" fmla="*/ 0 h 788194"/>
                <a:gd name="connsiteX3" fmla="*/ 14287 w 1417413"/>
                <a:gd name="connsiteY3" fmla="*/ 469106 h 788194"/>
                <a:gd name="connsiteX4" fmla="*/ 0 w 1417413"/>
                <a:gd name="connsiteY4" fmla="*/ 788194 h 788194"/>
                <a:gd name="connsiteX5" fmla="*/ 283368 w 1417413"/>
                <a:gd name="connsiteY5" fmla="*/ 438150 h 788194"/>
                <a:gd name="connsiteX6" fmla="*/ 821531 w 1417413"/>
                <a:gd name="connsiteY6" fmla="*/ 371475 h 788194"/>
                <a:gd name="connsiteX7" fmla="*/ 1404937 w 1417413"/>
                <a:gd name="connsiteY7" fmla="*/ 635794 h 788194"/>
                <a:gd name="connsiteX0" fmla="*/ 1404937 w 1417413"/>
                <a:gd name="connsiteY0" fmla="*/ 636458 h 788858"/>
                <a:gd name="connsiteX1" fmla="*/ 1402556 w 1417413"/>
                <a:gd name="connsiteY1" fmla="*/ 64958 h 788858"/>
                <a:gd name="connsiteX2" fmla="*/ 547687 w 1417413"/>
                <a:gd name="connsiteY2" fmla="*/ 664 h 788858"/>
                <a:gd name="connsiteX3" fmla="*/ 14287 w 1417413"/>
                <a:gd name="connsiteY3" fmla="*/ 469770 h 788858"/>
                <a:gd name="connsiteX4" fmla="*/ 0 w 1417413"/>
                <a:gd name="connsiteY4" fmla="*/ 788858 h 788858"/>
                <a:gd name="connsiteX5" fmla="*/ 283368 w 1417413"/>
                <a:gd name="connsiteY5" fmla="*/ 438814 h 788858"/>
                <a:gd name="connsiteX6" fmla="*/ 821531 w 1417413"/>
                <a:gd name="connsiteY6" fmla="*/ 372139 h 788858"/>
                <a:gd name="connsiteX7" fmla="*/ 1404937 w 1417413"/>
                <a:gd name="connsiteY7" fmla="*/ 636458 h 788858"/>
                <a:gd name="connsiteX0" fmla="*/ 1404937 w 1417413"/>
                <a:gd name="connsiteY0" fmla="*/ 659983 h 812383"/>
                <a:gd name="connsiteX1" fmla="*/ 1402556 w 1417413"/>
                <a:gd name="connsiteY1" fmla="*/ 88483 h 812383"/>
                <a:gd name="connsiteX2" fmla="*/ 547687 w 1417413"/>
                <a:gd name="connsiteY2" fmla="*/ 24189 h 812383"/>
                <a:gd name="connsiteX3" fmla="*/ 14287 w 1417413"/>
                <a:gd name="connsiteY3" fmla="*/ 493295 h 812383"/>
                <a:gd name="connsiteX4" fmla="*/ 0 w 1417413"/>
                <a:gd name="connsiteY4" fmla="*/ 812383 h 812383"/>
                <a:gd name="connsiteX5" fmla="*/ 283368 w 1417413"/>
                <a:gd name="connsiteY5" fmla="*/ 462339 h 812383"/>
                <a:gd name="connsiteX6" fmla="*/ 821531 w 1417413"/>
                <a:gd name="connsiteY6" fmla="*/ 395664 h 812383"/>
                <a:gd name="connsiteX7" fmla="*/ 1404937 w 1417413"/>
                <a:gd name="connsiteY7" fmla="*/ 659983 h 812383"/>
                <a:gd name="connsiteX0" fmla="*/ 1404937 w 1417413"/>
                <a:gd name="connsiteY0" fmla="*/ 674932 h 827332"/>
                <a:gd name="connsiteX1" fmla="*/ 1402556 w 1417413"/>
                <a:gd name="connsiteY1" fmla="*/ 103432 h 827332"/>
                <a:gd name="connsiteX2" fmla="*/ 547687 w 1417413"/>
                <a:gd name="connsiteY2" fmla="*/ 39138 h 827332"/>
                <a:gd name="connsiteX3" fmla="*/ 14287 w 1417413"/>
                <a:gd name="connsiteY3" fmla="*/ 508244 h 827332"/>
                <a:gd name="connsiteX4" fmla="*/ 0 w 1417413"/>
                <a:gd name="connsiteY4" fmla="*/ 827332 h 827332"/>
                <a:gd name="connsiteX5" fmla="*/ 283368 w 1417413"/>
                <a:gd name="connsiteY5" fmla="*/ 477288 h 827332"/>
                <a:gd name="connsiteX6" fmla="*/ 821531 w 1417413"/>
                <a:gd name="connsiteY6" fmla="*/ 410613 h 827332"/>
                <a:gd name="connsiteX7" fmla="*/ 1404937 w 1417413"/>
                <a:gd name="connsiteY7" fmla="*/ 674932 h 827332"/>
                <a:gd name="connsiteX0" fmla="*/ 1404937 w 1417413"/>
                <a:gd name="connsiteY0" fmla="*/ 674932 h 827332"/>
                <a:gd name="connsiteX1" fmla="*/ 1402556 w 1417413"/>
                <a:gd name="connsiteY1" fmla="*/ 103432 h 827332"/>
                <a:gd name="connsiteX2" fmla="*/ 547687 w 1417413"/>
                <a:gd name="connsiteY2" fmla="*/ 39138 h 827332"/>
                <a:gd name="connsiteX3" fmla="*/ 14287 w 1417413"/>
                <a:gd name="connsiteY3" fmla="*/ 508244 h 827332"/>
                <a:gd name="connsiteX4" fmla="*/ 0 w 1417413"/>
                <a:gd name="connsiteY4" fmla="*/ 827332 h 827332"/>
                <a:gd name="connsiteX5" fmla="*/ 283368 w 1417413"/>
                <a:gd name="connsiteY5" fmla="*/ 477288 h 827332"/>
                <a:gd name="connsiteX6" fmla="*/ 821531 w 1417413"/>
                <a:gd name="connsiteY6" fmla="*/ 410613 h 827332"/>
                <a:gd name="connsiteX7" fmla="*/ 1404937 w 1417413"/>
                <a:gd name="connsiteY7" fmla="*/ 674932 h 827332"/>
                <a:gd name="connsiteX0" fmla="*/ 1406804 w 1419280"/>
                <a:gd name="connsiteY0" fmla="*/ 674932 h 827332"/>
                <a:gd name="connsiteX1" fmla="*/ 1404423 w 1419280"/>
                <a:gd name="connsiteY1" fmla="*/ 103432 h 827332"/>
                <a:gd name="connsiteX2" fmla="*/ 549554 w 1419280"/>
                <a:gd name="connsiteY2" fmla="*/ 39138 h 827332"/>
                <a:gd name="connsiteX3" fmla="*/ 16154 w 1419280"/>
                <a:gd name="connsiteY3" fmla="*/ 508244 h 827332"/>
                <a:gd name="connsiteX4" fmla="*/ 1867 w 1419280"/>
                <a:gd name="connsiteY4" fmla="*/ 827332 h 827332"/>
                <a:gd name="connsiteX5" fmla="*/ 285235 w 1419280"/>
                <a:gd name="connsiteY5" fmla="*/ 477288 h 827332"/>
                <a:gd name="connsiteX6" fmla="*/ 823398 w 1419280"/>
                <a:gd name="connsiteY6" fmla="*/ 410613 h 827332"/>
                <a:gd name="connsiteX7" fmla="*/ 1406804 w 1419280"/>
                <a:gd name="connsiteY7" fmla="*/ 674932 h 827332"/>
                <a:gd name="connsiteX0" fmla="*/ 1409119 w 1421595"/>
                <a:gd name="connsiteY0" fmla="*/ 674932 h 827332"/>
                <a:gd name="connsiteX1" fmla="*/ 1406738 w 1421595"/>
                <a:gd name="connsiteY1" fmla="*/ 103432 h 827332"/>
                <a:gd name="connsiteX2" fmla="*/ 551869 w 1421595"/>
                <a:gd name="connsiteY2" fmla="*/ 39138 h 827332"/>
                <a:gd name="connsiteX3" fmla="*/ 18469 w 1421595"/>
                <a:gd name="connsiteY3" fmla="*/ 508244 h 827332"/>
                <a:gd name="connsiteX4" fmla="*/ 4182 w 1421595"/>
                <a:gd name="connsiteY4" fmla="*/ 827332 h 827332"/>
                <a:gd name="connsiteX5" fmla="*/ 287550 w 1421595"/>
                <a:gd name="connsiteY5" fmla="*/ 477288 h 827332"/>
                <a:gd name="connsiteX6" fmla="*/ 825713 w 1421595"/>
                <a:gd name="connsiteY6" fmla="*/ 410613 h 827332"/>
                <a:gd name="connsiteX7" fmla="*/ 1409119 w 1421595"/>
                <a:gd name="connsiteY7" fmla="*/ 674932 h 827332"/>
                <a:gd name="connsiteX0" fmla="*/ 1417088 w 1429564"/>
                <a:gd name="connsiteY0" fmla="*/ 674932 h 827332"/>
                <a:gd name="connsiteX1" fmla="*/ 1414707 w 1429564"/>
                <a:gd name="connsiteY1" fmla="*/ 103432 h 827332"/>
                <a:gd name="connsiteX2" fmla="*/ 559838 w 1429564"/>
                <a:gd name="connsiteY2" fmla="*/ 39138 h 827332"/>
                <a:gd name="connsiteX3" fmla="*/ 26438 w 1429564"/>
                <a:gd name="connsiteY3" fmla="*/ 508244 h 827332"/>
                <a:gd name="connsiteX4" fmla="*/ 12151 w 1429564"/>
                <a:gd name="connsiteY4" fmla="*/ 827332 h 827332"/>
                <a:gd name="connsiteX5" fmla="*/ 295519 w 1429564"/>
                <a:gd name="connsiteY5" fmla="*/ 477288 h 827332"/>
                <a:gd name="connsiteX6" fmla="*/ 833682 w 1429564"/>
                <a:gd name="connsiteY6" fmla="*/ 410613 h 827332"/>
                <a:gd name="connsiteX7" fmla="*/ 1417088 w 1429564"/>
                <a:gd name="connsiteY7" fmla="*/ 674932 h 827332"/>
                <a:gd name="connsiteX0" fmla="*/ 1417088 w 1429564"/>
                <a:gd name="connsiteY0" fmla="*/ 674932 h 827332"/>
                <a:gd name="connsiteX1" fmla="*/ 1414707 w 1429564"/>
                <a:gd name="connsiteY1" fmla="*/ 103432 h 827332"/>
                <a:gd name="connsiteX2" fmla="*/ 559838 w 1429564"/>
                <a:gd name="connsiteY2" fmla="*/ 39138 h 827332"/>
                <a:gd name="connsiteX3" fmla="*/ 26438 w 1429564"/>
                <a:gd name="connsiteY3" fmla="*/ 508244 h 827332"/>
                <a:gd name="connsiteX4" fmla="*/ 12151 w 1429564"/>
                <a:gd name="connsiteY4" fmla="*/ 827332 h 827332"/>
                <a:gd name="connsiteX5" fmla="*/ 295519 w 1429564"/>
                <a:gd name="connsiteY5" fmla="*/ 477288 h 827332"/>
                <a:gd name="connsiteX6" fmla="*/ 833682 w 1429564"/>
                <a:gd name="connsiteY6" fmla="*/ 410613 h 827332"/>
                <a:gd name="connsiteX7" fmla="*/ 1417088 w 1429564"/>
                <a:gd name="connsiteY7" fmla="*/ 674932 h 827332"/>
                <a:gd name="connsiteX0" fmla="*/ 1417088 w 1428573"/>
                <a:gd name="connsiteY0" fmla="*/ 674932 h 827332"/>
                <a:gd name="connsiteX1" fmla="*/ 1414707 w 1428573"/>
                <a:gd name="connsiteY1" fmla="*/ 103432 h 827332"/>
                <a:gd name="connsiteX2" fmla="*/ 559838 w 1428573"/>
                <a:gd name="connsiteY2" fmla="*/ 39138 h 827332"/>
                <a:gd name="connsiteX3" fmla="*/ 26438 w 1428573"/>
                <a:gd name="connsiteY3" fmla="*/ 508244 h 827332"/>
                <a:gd name="connsiteX4" fmla="*/ 12151 w 1428573"/>
                <a:gd name="connsiteY4" fmla="*/ 827332 h 827332"/>
                <a:gd name="connsiteX5" fmla="*/ 295519 w 1428573"/>
                <a:gd name="connsiteY5" fmla="*/ 477288 h 827332"/>
                <a:gd name="connsiteX6" fmla="*/ 833682 w 1428573"/>
                <a:gd name="connsiteY6" fmla="*/ 410613 h 827332"/>
                <a:gd name="connsiteX7" fmla="*/ 1417088 w 1428573"/>
                <a:gd name="connsiteY7" fmla="*/ 674932 h 827332"/>
                <a:gd name="connsiteX0" fmla="*/ 1417088 w 1428573"/>
                <a:gd name="connsiteY0" fmla="*/ 674932 h 827332"/>
                <a:gd name="connsiteX1" fmla="*/ 1414707 w 1428573"/>
                <a:gd name="connsiteY1" fmla="*/ 103432 h 827332"/>
                <a:gd name="connsiteX2" fmla="*/ 559838 w 1428573"/>
                <a:gd name="connsiteY2" fmla="*/ 39138 h 827332"/>
                <a:gd name="connsiteX3" fmla="*/ 26438 w 1428573"/>
                <a:gd name="connsiteY3" fmla="*/ 508244 h 827332"/>
                <a:gd name="connsiteX4" fmla="*/ 12151 w 1428573"/>
                <a:gd name="connsiteY4" fmla="*/ 827332 h 827332"/>
                <a:gd name="connsiteX5" fmla="*/ 295519 w 1428573"/>
                <a:gd name="connsiteY5" fmla="*/ 477288 h 827332"/>
                <a:gd name="connsiteX6" fmla="*/ 833682 w 1428573"/>
                <a:gd name="connsiteY6" fmla="*/ 410613 h 827332"/>
                <a:gd name="connsiteX7" fmla="*/ 1417088 w 1428573"/>
                <a:gd name="connsiteY7" fmla="*/ 674932 h 827332"/>
                <a:gd name="connsiteX0" fmla="*/ 1420075 w 1431560"/>
                <a:gd name="connsiteY0" fmla="*/ 674932 h 827332"/>
                <a:gd name="connsiteX1" fmla="*/ 1417694 w 1431560"/>
                <a:gd name="connsiteY1" fmla="*/ 103432 h 827332"/>
                <a:gd name="connsiteX2" fmla="*/ 562825 w 1431560"/>
                <a:gd name="connsiteY2" fmla="*/ 39138 h 827332"/>
                <a:gd name="connsiteX3" fmla="*/ 29425 w 1431560"/>
                <a:gd name="connsiteY3" fmla="*/ 508244 h 827332"/>
                <a:gd name="connsiteX4" fmla="*/ 15138 w 1431560"/>
                <a:gd name="connsiteY4" fmla="*/ 827332 h 827332"/>
                <a:gd name="connsiteX5" fmla="*/ 298506 w 1431560"/>
                <a:gd name="connsiteY5" fmla="*/ 477288 h 827332"/>
                <a:gd name="connsiteX6" fmla="*/ 836669 w 1431560"/>
                <a:gd name="connsiteY6" fmla="*/ 410613 h 827332"/>
                <a:gd name="connsiteX7" fmla="*/ 1420075 w 1431560"/>
                <a:gd name="connsiteY7" fmla="*/ 674932 h 827332"/>
                <a:gd name="connsiteX0" fmla="*/ 1420075 w 1431560"/>
                <a:gd name="connsiteY0" fmla="*/ 674932 h 827332"/>
                <a:gd name="connsiteX1" fmla="*/ 1417694 w 1431560"/>
                <a:gd name="connsiteY1" fmla="*/ 103432 h 827332"/>
                <a:gd name="connsiteX2" fmla="*/ 562825 w 1431560"/>
                <a:gd name="connsiteY2" fmla="*/ 39138 h 827332"/>
                <a:gd name="connsiteX3" fmla="*/ 29425 w 1431560"/>
                <a:gd name="connsiteY3" fmla="*/ 508244 h 827332"/>
                <a:gd name="connsiteX4" fmla="*/ 15138 w 1431560"/>
                <a:gd name="connsiteY4" fmla="*/ 827332 h 827332"/>
                <a:gd name="connsiteX5" fmla="*/ 298506 w 1431560"/>
                <a:gd name="connsiteY5" fmla="*/ 477288 h 827332"/>
                <a:gd name="connsiteX6" fmla="*/ 836669 w 1431560"/>
                <a:gd name="connsiteY6" fmla="*/ 410613 h 827332"/>
                <a:gd name="connsiteX7" fmla="*/ 1420075 w 1431560"/>
                <a:gd name="connsiteY7" fmla="*/ 674932 h 827332"/>
                <a:gd name="connsiteX0" fmla="*/ 1417089 w 1428574"/>
                <a:gd name="connsiteY0" fmla="*/ 674932 h 827332"/>
                <a:gd name="connsiteX1" fmla="*/ 1414708 w 1428574"/>
                <a:gd name="connsiteY1" fmla="*/ 103432 h 827332"/>
                <a:gd name="connsiteX2" fmla="*/ 559839 w 1428574"/>
                <a:gd name="connsiteY2" fmla="*/ 39138 h 827332"/>
                <a:gd name="connsiteX3" fmla="*/ 26439 w 1428574"/>
                <a:gd name="connsiteY3" fmla="*/ 508244 h 827332"/>
                <a:gd name="connsiteX4" fmla="*/ 12152 w 1428574"/>
                <a:gd name="connsiteY4" fmla="*/ 827332 h 827332"/>
                <a:gd name="connsiteX5" fmla="*/ 295520 w 1428574"/>
                <a:gd name="connsiteY5" fmla="*/ 477288 h 827332"/>
                <a:gd name="connsiteX6" fmla="*/ 833683 w 1428574"/>
                <a:gd name="connsiteY6" fmla="*/ 410613 h 827332"/>
                <a:gd name="connsiteX7" fmla="*/ 1417089 w 1428574"/>
                <a:gd name="connsiteY7" fmla="*/ 674932 h 827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28574" h="827332">
                  <a:moveTo>
                    <a:pt x="1417089" y="674932"/>
                  </a:moveTo>
                  <a:cubicBezTo>
                    <a:pt x="1435346" y="448714"/>
                    <a:pt x="1429789" y="289169"/>
                    <a:pt x="1414708" y="103432"/>
                  </a:cubicBezTo>
                  <a:cubicBezTo>
                    <a:pt x="1129752" y="1038"/>
                    <a:pt x="880514" y="-34681"/>
                    <a:pt x="559839" y="39138"/>
                  </a:cubicBezTo>
                  <a:cubicBezTo>
                    <a:pt x="324968" y="93205"/>
                    <a:pt x="103590" y="255487"/>
                    <a:pt x="26439" y="508244"/>
                  </a:cubicBezTo>
                  <a:cubicBezTo>
                    <a:pt x="-7732" y="620193"/>
                    <a:pt x="-4518" y="728112"/>
                    <a:pt x="12152" y="827332"/>
                  </a:cubicBezTo>
                  <a:cubicBezTo>
                    <a:pt x="28424" y="650723"/>
                    <a:pt x="130471" y="560134"/>
                    <a:pt x="295520" y="477288"/>
                  </a:cubicBezTo>
                  <a:cubicBezTo>
                    <a:pt x="460084" y="394686"/>
                    <a:pt x="654458" y="387116"/>
                    <a:pt x="833683" y="410613"/>
                  </a:cubicBezTo>
                  <a:cubicBezTo>
                    <a:pt x="1142452" y="451094"/>
                    <a:pt x="1298820" y="584445"/>
                    <a:pt x="1417089" y="674932"/>
                  </a:cubicBezTo>
                  <a:close/>
                </a:path>
              </a:pathLst>
            </a:custGeom>
            <a:solidFill>
              <a:srgbClr val="0F238D"/>
            </a:solidFill>
            <a:ln w="127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noProof="0">
                <a:solidFill>
                  <a:schemeClr val="accent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900600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8251200" y="774000"/>
            <a:ext cx="7524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ts val="700"/>
              </a:lnSpc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nl-NL" noProof="0"/>
              <a:t>&lt;Date&gt;</a:t>
            </a:r>
            <a:endParaRPr lang="en-US" noProof="0"/>
          </a:p>
        </p:txBody>
      </p:sp>
      <p:sp>
        <p:nvSpPr>
          <p:cNvPr id="23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8251200" y="644400"/>
            <a:ext cx="7524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ts val="800"/>
              </a:lnSpc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Slide </a:t>
            </a:r>
            <a:fld id="{1D9B13CD-33A0-446D-8703-F89F9F109F54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24" name="Picture 17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152" r="9151"/>
          <a:stretch/>
        </p:blipFill>
        <p:spPr>
          <a:xfrm>
            <a:off x="8097108" y="0"/>
            <a:ext cx="155122" cy="5143500"/>
          </a:xfrm>
          <a:prstGeom prst="rect">
            <a:avLst/>
          </a:prstGeom>
        </p:spPr>
      </p:pic>
      <p:grpSp>
        <p:nvGrpSpPr>
          <p:cNvPr id="25" name="Groep 24"/>
          <p:cNvGrpSpPr/>
          <p:nvPr/>
        </p:nvGrpSpPr>
        <p:grpSpPr>
          <a:xfrm>
            <a:off x="8320087" y="214534"/>
            <a:ext cx="684118" cy="191810"/>
            <a:chOff x="8320087" y="159540"/>
            <a:chExt cx="684118" cy="191810"/>
          </a:xfrm>
        </p:grpSpPr>
        <p:sp>
          <p:nvSpPr>
            <p:cNvPr id="26" name="Freeform 30"/>
            <p:cNvSpPr/>
            <p:nvPr userDrawn="1"/>
          </p:nvSpPr>
          <p:spPr>
            <a:xfrm>
              <a:off x="8320087" y="164783"/>
              <a:ext cx="170905" cy="182992"/>
            </a:xfrm>
            <a:custGeom>
              <a:avLst/>
              <a:gdLst>
                <a:gd name="connsiteX0" fmla="*/ 0 w 1097756"/>
                <a:gd name="connsiteY0" fmla="*/ 0 h 1181100"/>
                <a:gd name="connsiteX1" fmla="*/ 745331 w 1097756"/>
                <a:gd name="connsiteY1" fmla="*/ 0 h 1181100"/>
                <a:gd name="connsiteX2" fmla="*/ 1097756 w 1097756"/>
                <a:gd name="connsiteY2" fmla="*/ 1178718 h 1181100"/>
                <a:gd name="connsiteX3" fmla="*/ 523875 w 1097756"/>
                <a:gd name="connsiteY3" fmla="*/ 1181100 h 1181100"/>
                <a:gd name="connsiteX4" fmla="*/ 0 w 1097756"/>
                <a:gd name="connsiteY4" fmla="*/ 0 h 1181100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523875 w 1400175"/>
                <a:gd name="connsiteY3" fmla="*/ 1181100 h 2197893"/>
                <a:gd name="connsiteX4" fmla="*/ 0 w 1400175"/>
                <a:gd name="connsiteY4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1047750 w 1400175"/>
                <a:gd name="connsiteY3" fmla="*/ 1790700 h 2197893"/>
                <a:gd name="connsiteX4" fmla="*/ 523875 w 1400175"/>
                <a:gd name="connsiteY4" fmla="*/ 1181100 h 2197893"/>
                <a:gd name="connsiteX5" fmla="*/ 0 w 1400175"/>
                <a:gd name="connsiteY5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50094 w 1400175"/>
                <a:gd name="connsiteY3" fmla="*/ 2193131 h 2197893"/>
                <a:gd name="connsiteX4" fmla="*/ 523875 w 1400175"/>
                <a:gd name="connsiteY4" fmla="*/ 1181100 h 2197893"/>
                <a:gd name="connsiteX5" fmla="*/ 0 w 1400175"/>
                <a:gd name="connsiteY5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523875 w 1400175"/>
                <a:gd name="connsiteY4" fmla="*/ 1181100 h 2197893"/>
                <a:gd name="connsiteX5" fmla="*/ 0 w 1400175"/>
                <a:gd name="connsiteY5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0 w 1400175"/>
                <a:gd name="connsiteY5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230981 w 1400175"/>
                <a:gd name="connsiteY5" fmla="*/ 295275 h 2197893"/>
                <a:gd name="connsiteX6" fmla="*/ 0 w 1400175"/>
                <a:gd name="connsiteY6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195262 w 1400175"/>
                <a:gd name="connsiteY5" fmla="*/ 1204913 h 2197893"/>
                <a:gd name="connsiteX6" fmla="*/ 0 w 1400175"/>
                <a:gd name="connsiteY6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173830 w 1400175"/>
                <a:gd name="connsiteY5" fmla="*/ 1383507 h 2197893"/>
                <a:gd name="connsiteX6" fmla="*/ 0 w 1400175"/>
                <a:gd name="connsiteY6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173830 w 1400175"/>
                <a:gd name="connsiteY5" fmla="*/ 1383507 h 2197893"/>
                <a:gd name="connsiteX6" fmla="*/ 135731 w 1400175"/>
                <a:gd name="connsiteY6" fmla="*/ 1102518 h 2197893"/>
                <a:gd name="connsiteX7" fmla="*/ 0 w 1400175"/>
                <a:gd name="connsiteY7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173830 w 1400175"/>
                <a:gd name="connsiteY5" fmla="*/ 1383507 h 2197893"/>
                <a:gd name="connsiteX6" fmla="*/ 609600 w 1400175"/>
                <a:gd name="connsiteY6" fmla="*/ 1385887 h 2197893"/>
                <a:gd name="connsiteX7" fmla="*/ 0 w 1400175"/>
                <a:gd name="connsiteY7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173830 w 1400175"/>
                <a:gd name="connsiteY5" fmla="*/ 1383507 h 2197893"/>
                <a:gd name="connsiteX6" fmla="*/ 609600 w 1400175"/>
                <a:gd name="connsiteY6" fmla="*/ 1385887 h 2197893"/>
                <a:gd name="connsiteX7" fmla="*/ 378619 w 1400175"/>
                <a:gd name="connsiteY7" fmla="*/ 862012 h 2197893"/>
                <a:gd name="connsiteX8" fmla="*/ 0 w 1400175"/>
                <a:gd name="connsiteY8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173830 w 1400175"/>
                <a:gd name="connsiteY5" fmla="*/ 1383507 h 2197893"/>
                <a:gd name="connsiteX6" fmla="*/ 609600 w 1400175"/>
                <a:gd name="connsiteY6" fmla="*/ 1385887 h 2197893"/>
                <a:gd name="connsiteX7" fmla="*/ 692944 w 1400175"/>
                <a:gd name="connsiteY7" fmla="*/ 1797843 h 2197893"/>
                <a:gd name="connsiteX8" fmla="*/ 0 w 1400175"/>
                <a:gd name="connsiteY8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173830 w 1400175"/>
                <a:gd name="connsiteY5" fmla="*/ 1383507 h 2197893"/>
                <a:gd name="connsiteX6" fmla="*/ 609600 w 1400175"/>
                <a:gd name="connsiteY6" fmla="*/ 1385887 h 2197893"/>
                <a:gd name="connsiteX7" fmla="*/ 692944 w 1400175"/>
                <a:gd name="connsiteY7" fmla="*/ 1797843 h 2197893"/>
                <a:gd name="connsiteX8" fmla="*/ 426244 w 1400175"/>
                <a:gd name="connsiteY8" fmla="*/ 1112043 h 2197893"/>
                <a:gd name="connsiteX9" fmla="*/ 0 w 1400175"/>
                <a:gd name="connsiteY9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173830 w 1400175"/>
                <a:gd name="connsiteY5" fmla="*/ 1383507 h 2197893"/>
                <a:gd name="connsiteX6" fmla="*/ 609600 w 1400175"/>
                <a:gd name="connsiteY6" fmla="*/ 1385887 h 2197893"/>
                <a:gd name="connsiteX7" fmla="*/ 692944 w 1400175"/>
                <a:gd name="connsiteY7" fmla="*/ 1797843 h 2197893"/>
                <a:gd name="connsiteX8" fmla="*/ 88106 w 1400175"/>
                <a:gd name="connsiteY8" fmla="*/ 1795462 h 2197893"/>
                <a:gd name="connsiteX9" fmla="*/ 0 w 1400175"/>
                <a:gd name="connsiteY9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173830 w 1400175"/>
                <a:gd name="connsiteY5" fmla="*/ 1383507 h 2197893"/>
                <a:gd name="connsiteX6" fmla="*/ 609600 w 1400175"/>
                <a:gd name="connsiteY6" fmla="*/ 1385887 h 2197893"/>
                <a:gd name="connsiteX7" fmla="*/ 692944 w 1400175"/>
                <a:gd name="connsiteY7" fmla="*/ 1797843 h 2197893"/>
                <a:gd name="connsiteX8" fmla="*/ 88106 w 1400175"/>
                <a:gd name="connsiteY8" fmla="*/ 1795462 h 2197893"/>
                <a:gd name="connsiteX9" fmla="*/ 52388 w 1400175"/>
                <a:gd name="connsiteY9" fmla="*/ 1131093 h 2197893"/>
                <a:gd name="connsiteX10" fmla="*/ 0 w 1400175"/>
                <a:gd name="connsiteY10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173830 w 1400175"/>
                <a:gd name="connsiteY5" fmla="*/ 1383507 h 2197893"/>
                <a:gd name="connsiteX6" fmla="*/ 609600 w 1400175"/>
                <a:gd name="connsiteY6" fmla="*/ 1385887 h 2197893"/>
                <a:gd name="connsiteX7" fmla="*/ 692944 w 1400175"/>
                <a:gd name="connsiteY7" fmla="*/ 1797843 h 2197893"/>
                <a:gd name="connsiteX8" fmla="*/ 88106 w 1400175"/>
                <a:gd name="connsiteY8" fmla="*/ 1795462 h 2197893"/>
                <a:gd name="connsiteX9" fmla="*/ 0 w 1400175"/>
                <a:gd name="connsiteY9" fmla="*/ 2197893 h 2197893"/>
                <a:gd name="connsiteX10" fmla="*/ 0 w 1400175"/>
                <a:gd name="connsiteY10" fmla="*/ 0 h 2197893"/>
                <a:gd name="connsiteX0" fmla="*/ 4762 w 1404937"/>
                <a:gd name="connsiteY0" fmla="*/ 0 h 2197893"/>
                <a:gd name="connsiteX1" fmla="*/ 750093 w 1404937"/>
                <a:gd name="connsiteY1" fmla="*/ 0 h 2197893"/>
                <a:gd name="connsiteX2" fmla="*/ 1404937 w 1404937"/>
                <a:gd name="connsiteY2" fmla="*/ 2197893 h 2197893"/>
                <a:gd name="connsiteX3" fmla="*/ 752475 w 1404937"/>
                <a:gd name="connsiteY3" fmla="*/ 2195512 h 2197893"/>
                <a:gd name="connsiteX4" fmla="*/ 376237 w 1404937"/>
                <a:gd name="connsiteY4" fmla="*/ 478631 h 2197893"/>
                <a:gd name="connsiteX5" fmla="*/ 178592 w 1404937"/>
                <a:gd name="connsiteY5" fmla="*/ 1383507 h 2197893"/>
                <a:gd name="connsiteX6" fmla="*/ 614362 w 1404937"/>
                <a:gd name="connsiteY6" fmla="*/ 1385887 h 2197893"/>
                <a:gd name="connsiteX7" fmla="*/ 697706 w 1404937"/>
                <a:gd name="connsiteY7" fmla="*/ 1797843 h 2197893"/>
                <a:gd name="connsiteX8" fmla="*/ 92868 w 1404937"/>
                <a:gd name="connsiteY8" fmla="*/ 1795462 h 2197893"/>
                <a:gd name="connsiteX9" fmla="*/ 4762 w 1404937"/>
                <a:gd name="connsiteY9" fmla="*/ 2197893 h 2197893"/>
                <a:gd name="connsiteX10" fmla="*/ 0 w 1404937"/>
                <a:gd name="connsiteY10" fmla="*/ 2045493 h 2197893"/>
                <a:gd name="connsiteX11" fmla="*/ 4762 w 1404937"/>
                <a:gd name="connsiteY11" fmla="*/ 0 h 2197893"/>
                <a:gd name="connsiteX0" fmla="*/ 652462 w 2052637"/>
                <a:gd name="connsiteY0" fmla="*/ 0 h 2197893"/>
                <a:gd name="connsiteX1" fmla="*/ 1397793 w 2052637"/>
                <a:gd name="connsiteY1" fmla="*/ 0 h 2197893"/>
                <a:gd name="connsiteX2" fmla="*/ 2052637 w 2052637"/>
                <a:gd name="connsiteY2" fmla="*/ 2197893 h 2197893"/>
                <a:gd name="connsiteX3" fmla="*/ 1400175 w 2052637"/>
                <a:gd name="connsiteY3" fmla="*/ 2195512 h 2197893"/>
                <a:gd name="connsiteX4" fmla="*/ 1023937 w 2052637"/>
                <a:gd name="connsiteY4" fmla="*/ 478631 h 2197893"/>
                <a:gd name="connsiteX5" fmla="*/ 826292 w 2052637"/>
                <a:gd name="connsiteY5" fmla="*/ 1383507 h 2197893"/>
                <a:gd name="connsiteX6" fmla="*/ 1262062 w 2052637"/>
                <a:gd name="connsiteY6" fmla="*/ 1385887 h 2197893"/>
                <a:gd name="connsiteX7" fmla="*/ 1345406 w 2052637"/>
                <a:gd name="connsiteY7" fmla="*/ 1797843 h 2197893"/>
                <a:gd name="connsiteX8" fmla="*/ 740568 w 2052637"/>
                <a:gd name="connsiteY8" fmla="*/ 1795462 h 2197893"/>
                <a:gd name="connsiteX9" fmla="*/ 652462 w 2052637"/>
                <a:gd name="connsiteY9" fmla="*/ 2197893 h 2197893"/>
                <a:gd name="connsiteX10" fmla="*/ 0 w 2052637"/>
                <a:gd name="connsiteY10" fmla="*/ 2193131 h 2197893"/>
                <a:gd name="connsiteX11" fmla="*/ 652462 w 2052637"/>
                <a:gd name="connsiteY11" fmla="*/ 0 h 2197893"/>
                <a:gd name="connsiteX0" fmla="*/ 652462 w 2052637"/>
                <a:gd name="connsiteY0" fmla="*/ 1 h 2197894"/>
                <a:gd name="connsiteX1" fmla="*/ 1397793 w 2052637"/>
                <a:gd name="connsiteY1" fmla="*/ 1 h 2197894"/>
                <a:gd name="connsiteX2" fmla="*/ 2052637 w 2052637"/>
                <a:gd name="connsiteY2" fmla="*/ 2197894 h 2197894"/>
                <a:gd name="connsiteX3" fmla="*/ 1400175 w 2052637"/>
                <a:gd name="connsiteY3" fmla="*/ 2195513 h 2197894"/>
                <a:gd name="connsiteX4" fmla="*/ 1023937 w 2052637"/>
                <a:gd name="connsiteY4" fmla="*/ 478632 h 2197894"/>
                <a:gd name="connsiteX5" fmla="*/ 826292 w 2052637"/>
                <a:gd name="connsiteY5" fmla="*/ 1383508 h 2197894"/>
                <a:gd name="connsiteX6" fmla="*/ 1262062 w 2052637"/>
                <a:gd name="connsiteY6" fmla="*/ 1385888 h 2197894"/>
                <a:gd name="connsiteX7" fmla="*/ 1345406 w 2052637"/>
                <a:gd name="connsiteY7" fmla="*/ 1797844 h 2197894"/>
                <a:gd name="connsiteX8" fmla="*/ 740568 w 2052637"/>
                <a:gd name="connsiteY8" fmla="*/ 1795463 h 2197894"/>
                <a:gd name="connsiteX9" fmla="*/ 652462 w 2052637"/>
                <a:gd name="connsiteY9" fmla="*/ 2197894 h 2197894"/>
                <a:gd name="connsiteX10" fmla="*/ 0 w 2052637"/>
                <a:gd name="connsiteY10" fmla="*/ 2193132 h 2197894"/>
                <a:gd name="connsiteX11" fmla="*/ 652462 w 2052637"/>
                <a:gd name="connsiteY11" fmla="*/ 1 h 2197894"/>
                <a:gd name="connsiteX0" fmla="*/ 652533 w 2052708"/>
                <a:gd name="connsiteY0" fmla="*/ 1 h 2197894"/>
                <a:gd name="connsiteX1" fmla="*/ 1397864 w 2052708"/>
                <a:gd name="connsiteY1" fmla="*/ 1 h 2197894"/>
                <a:gd name="connsiteX2" fmla="*/ 2052708 w 2052708"/>
                <a:gd name="connsiteY2" fmla="*/ 2197894 h 2197894"/>
                <a:gd name="connsiteX3" fmla="*/ 1400246 w 2052708"/>
                <a:gd name="connsiteY3" fmla="*/ 2195513 h 2197894"/>
                <a:gd name="connsiteX4" fmla="*/ 1024008 w 2052708"/>
                <a:gd name="connsiteY4" fmla="*/ 478632 h 2197894"/>
                <a:gd name="connsiteX5" fmla="*/ 826363 w 2052708"/>
                <a:gd name="connsiteY5" fmla="*/ 1383508 h 2197894"/>
                <a:gd name="connsiteX6" fmla="*/ 1262133 w 2052708"/>
                <a:gd name="connsiteY6" fmla="*/ 1385888 h 2197894"/>
                <a:gd name="connsiteX7" fmla="*/ 1345477 w 2052708"/>
                <a:gd name="connsiteY7" fmla="*/ 1797844 h 2197894"/>
                <a:gd name="connsiteX8" fmla="*/ 740639 w 2052708"/>
                <a:gd name="connsiteY8" fmla="*/ 1795463 h 2197894"/>
                <a:gd name="connsiteX9" fmla="*/ 652533 w 2052708"/>
                <a:gd name="connsiteY9" fmla="*/ 2197894 h 2197894"/>
                <a:gd name="connsiteX10" fmla="*/ 71 w 2052708"/>
                <a:gd name="connsiteY10" fmla="*/ 2193132 h 2197894"/>
                <a:gd name="connsiteX11" fmla="*/ 652533 w 2052708"/>
                <a:gd name="connsiteY11" fmla="*/ 1 h 2197894"/>
                <a:gd name="connsiteX0" fmla="*/ 652533 w 2052708"/>
                <a:gd name="connsiteY0" fmla="*/ 1 h 2197894"/>
                <a:gd name="connsiteX1" fmla="*/ 1397864 w 2052708"/>
                <a:gd name="connsiteY1" fmla="*/ 1 h 2197894"/>
                <a:gd name="connsiteX2" fmla="*/ 2052708 w 2052708"/>
                <a:gd name="connsiteY2" fmla="*/ 2197894 h 2197894"/>
                <a:gd name="connsiteX3" fmla="*/ 1400246 w 2052708"/>
                <a:gd name="connsiteY3" fmla="*/ 2195513 h 2197894"/>
                <a:gd name="connsiteX4" fmla="*/ 1024008 w 2052708"/>
                <a:gd name="connsiteY4" fmla="*/ 478632 h 2197894"/>
                <a:gd name="connsiteX5" fmla="*/ 826363 w 2052708"/>
                <a:gd name="connsiteY5" fmla="*/ 1383508 h 2197894"/>
                <a:gd name="connsiteX6" fmla="*/ 1214508 w 2052708"/>
                <a:gd name="connsiteY6" fmla="*/ 1383506 h 2197894"/>
                <a:gd name="connsiteX7" fmla="*/ 1345477 w 2052708"/>
                <a:gd name="connsiteY7" fmla="*/ 1797844 h 2197894"/>
                <a:gd name="connsiteX8" fmla="*/ 740639 w 2052708"/>
                <a:gd name="connsiteY8" fmla="*/ 1795463 h 2197894"/>
                <a:gd name="connsiteX9" fmla="*/ 652533 w 2052708"/>
                <a:gd name="connsiteY9" fmla="*/ 2197894 h 2197894"/>
                <a:gd name="connsiteX10" fmla="*/ 71 w 2052708"/>
                <a:gd name="connsiteY10" fmla="*/ 2193132 h 2197894"/>
                <a:gd name="connsiteX11" fmla="*/ 652533 w 2052708"/>
                <a:gd name="connsiteY11" fmla="*/ 1 h 2197894"/>
                <a:gd name="connsiteX0" fmla="*/ 652533 w 2052708"/>
                <a:gd name="connsiteY0" fmla="*/ 1 h 2197894"/>
                <a:gd name="connsiteX1" fmla="*/ 1397864 w 2052708"/>
                <a:gd name="connsiteY1" fmla="*/ 1 h 2197894"/>
                <a:gd name="connsiteX2" fmla="*/ 2052708 w 2052708"/>
                <a:gd name="connsiteY2" fmla="*/ 2197894 h 2197894"/>
                <a:gd name="connsiteX3" fmla="*/ 1400246 w 2052708"/>
                <a:gd name="connsiteY3" fmla="*/ 2195513 h 2197894"/>
                <a:gd name="connsiteX4" fmla="*/ 1024008 w 2052708"/>
                <a:gd name="connsiteY4" fmla="*/ 478632 h 2197894"/>
                <a:gd name="connsiteX5" fmla="*/ 826363 w 2052708"/>
                <a:gd name="connsiteY5" fmla="*/ 1383508 h 2197894"/>
                <a:gd name="connsiteX6" fmla="*/ 1214508 w 2052708"/>
                <a:gd name="connsiteY6" fmla="*/ 1383506 h 2197894"/>
                <a:gd name="connsiteX7" fmla="*/ 1312139 w 2052708"/>
                <a:gd name="connsiteY7" fmla="*/ 1797844 h 2197894"/>
                <a:gd name="connsiteX8" fmla="*/ 740639 w 2052708"/>
                <a:gd name="connsiteY8" fmla="*/ 1795463 h 2197894"/>
                <a:gd name="connsiteX9" fmla="*/ 652533 w 2052708"/>
                <a:gd name="connsiteY9" fmla="*/ 2197894 h 2197894"/>
                <a:gd name="connsiteX10" fmla="*/ 71 w 2052708"/>
                <a:gd name="connsiteY10" fmla="*/ 2193132 h 2197894"/>
                <a:gd name="connsiteX11" fmla="*/ 652533 w 2052708"/>
                <a:gd name="connsiteY11" fmla="*/ 1 h 2197894"/>
                <a:gd name="connsiteX0" fmla="*/ 652533 w 2052708"/>
                <a:gd name="connsiteY0" fmla="*/ 1 h 2197894"/>
                <a:gd name="connsiteX1" fmla="*/ 1397864 w 2052708"/>
                <a:gd name="connsiteY1" fmla="*/ 1 h 2197894"/>
                <a:gd name="connsiteX2" fmla="*/ 2052708 w 2052708"/>
                <a:gd name="connsiteY2" fmla="*/ 2197894 h 2197894"/>
                <a:gd name="connsiteX3" fmla="*/ 1400246 w 2052708"/>
                <a:gd name="connsiteY3" fmla="*/ 2195513 h 2197894"/>
                <a:gd name="connsiteX4" fmla="*/ 1024008 w 2052708"/>
                <a:gd name="connsiteY4" fmla="*/ 478632 h 2197894"/>
                <a:gd name="connsiteX5" fmla="*/ 826363 w 2052708"/>
                <a:gd name="connsiteY5" fmla="*/ 1383508 h 2197894"/>
                <a:gd name="connsiteX6" fmla="*/ 1219271 w 2052708"/>
                <a:gd name="connsiteY6" fmla="*/ 1376363 h 2197894"/>
                <a:gd name="connsiteX7" fmla="*/ 1312139 w 2052708"/>
                <a:gd name="connsiteY7" fmla="*/ 1797844 h 2197894"/>
                <a:gd name="connsiteX8" fmla="*/ 740639 w 2052708"/>
                <a:gd name="connsiteY8" fmla="*/ 1795463 h 2197894"/>
                <a:gd name="connsiteX9" fmla="*/ 652533 w 2052708"/>
                <a:gd name="connsiteY9" fmla="*/ 2197894 h 2197894"/>
                <a:gd name="connsiteX10" fmla="*/ 71 w 2052708"/>
                <a:gd name="connsiteY10" fmla="*/ 2193132 h 2197894"/>
                <a:gd name="connsiteX11" fmla="*/ 652533 w 2052708"/>
                <a:gd name="connsiteY11" fmla="*/ 1 h 2197894"/>
                <a:gd name="connsiteX0" fmla="*/ 652533 w 2052708"/>
                <a:gd name="connsiteY0" fmla="*/ 1 h 2197894"/>
                <a:gd name="connsiteX1" fmla="*/ 1397864 w 2052708"/>
                <a:gd name="connsiteY1" fmla="*/ 1 h 2197894"/>
                <a:gd name="connsiteX2" fmla="*/ 2052708 w 2052708"/>
                <a:gd name="connsiteY2" fmla="*/ 2197894 h 2197894"/>
                <a:gd name="connsiteX3" fmla="*/ 1400246 w 2052708"/>
                <a:gd name="connsiteY3" fmla="*/ 2195513 h 2197894"/>
                <a:gd name="connsiteX4" fmla="*/ 1024008 w 2052708"/>
                <a:gd name="connsiteY4" fmla="*/ 478632 h 2197894"/>
                <a:gd name="connsiteX5" fmla="*/ 826363 w 2052708"/>
                <a:gd name="connsiteY5" fmla="*/ 1383508 h 2197894"/>
                <a:gd name="connsiteX6" fmla="*/ 1221653 w 2052708"/>
                <a:gd name="connsiteY6" fmla="*/ 1383507 h 2197894"/>
                <a:gd name="connsiteX7" fmla="*/ 1312139 w 2052708"/>
                <a:gd name="connsiteY7" fmla="*/ 1797844 h 2197894"/>
                <a:gd name="connsiteX8" fmla="*/ 740639 w 2052708"/>
                <a:gd name="connsiteY8" fmla="*/ 1795463 h 2197894"/>
                <a:gd name="connsiteX9" fmla="*/ 652533 w 2052708"/>
                <a:gd name="connsiteY9" fmla="*/ 2197894 h 2197894"/>
                <a:gd name="connsiteX10" fmla="*/ 71 w 2052708"/>
                <a:gd name="connsiteY10" fmla="*/ 2193132 h 2197894"/>
                <a:gd name="connsiteX11" fmla="*/ 652533 w 2052708"/>
                <a:gd name="connsiteY11" fmla="*/ 1 h 2197894"/>
                <a:gd name="connsiteX0" fmla="*/ 652533 w 2052708"/>
                <a:gd name="connsiteY0" fmla="*/ 1 h 2197894"/>
                <a:gd name="connsiteX1" fmla="*/ 1397864 w 2052708"/>
                <a:gd name="connsiteY1" fmla="*/ 1 h 2197894"/>
                <a:gd name="connsiteX2" fmla="*/ 2052708 w 2052708"/>
                <a:gd name="connsiteY2" fmla="*/ 2197894 h 2197894"/>
                <a:gd name="connsiteX3" fmla="*/ 1400246 w 2052708"/>
                <a:gd name="connsiteY3" fmla="*/ 2195513 h 2197894"/>
                <a:gd name="connsiteX4" fmla="*/ 1024008 w 2052708"/>
                <a:gd name="connsiteY4" fmla="*/ 478632 h 2197894"/>
                <a:gd name="connsiteX5" fmla="*/ 826363 w 2052708"/>
                <a:gd name="connsiteY5" fmla="*/ 1383508 h 2197894"/>
                <a:gd name="connsiteX6" fmla="*/ 1221653 w 2052708"/>
                <a:gd name="connsiteY6" fmla="*/ 1383507 h 2197894"/>
                <a:gd name="connsiteX7" fmla="*/ 1312139 w 2052708"/>
                <a:gd name="connsiteY7" fmla="*/ 1795463 h 2197894"/>
                <a:gd name="connsiteX8" fmla="*/ 740639 w 2052708"/>
                <a:gd name="connsiteY8" fmla="*/ 1795463 h 2197894"/>
                <a:gd name="connsiteX9" fmla="*/ 652533 w 2052708"/>
                <a:gd name="connsiteY9" fmla="*/ 2197894 h 2197894"/>
                <a:gd name="connsiteX10" fmla="*/ 71 w 2052708"/>
                <a:gd name="connsiteY10" fmla="*/ 2193132 h 2197894"/>
                <a:gd name="connsiteX11" fmla="*/ 652533 w 2052708"/>
                <a:gd name="connsiteY11" fmla="*/ 1 h 2197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52708" h="2197894">
                  <a:moveTo>
                    <a:pt x="652533" y="1"/>
                  </a:moveTo>
                  <a:lnTo>
                    <a:pt x="1397864" y="1"/>
                  </a:lnTo>
                  <a:lnTo>
                    <a:pt x="2052708" y="2197894"/>
                  </a:lnTo>
                  <a:lnTo>
                    <a:pt x="1400246" y="2195513"/>
                  </a:lnTo>
                  <a:lnTo>
                    <a:pt x="1024008" y="478632"/>
                  </a:lnTo>
                  <a:lnTo>
                    <a:pt x="826363" y="1383508"/>
                  </a:lnTo>
                  <a:lnTo>
                    <a:pt x="1221653" y="1383507"/>
                  </a:lnTo>
                  <a:lnTo>
                    <a:pt x="1312139" y="1795463"/>
                  </a:lnTo>
                  <a:lnTo>
                    <a:pt x="740639" y="1795463"/>
                  </a:lnTo>
                  <a:lnTo>
                    <a:pt x="652533" y="2197894"/>
                  </a:lnTo>
                  <a:lnTo>
                    <a:pt x="71" y="2193132"/>
                  </a:lnTo>
                  <a:cubicBezTo>
                    <a:pt x="-7867" y="2197101"/>
                    <a:pt x="648565" y="-1587"/>
                    <a:pt x="652533" y="1"/>
                  </a:cubicBezTo>
                  <a:close/>
                </a:path>
              </a:pathLst>
            </a:custGeom>
            <a:solidFill>
              <a:srgbClr val="0F238D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noProof="0">
                <a:solidFill>
                  <a:schemeClr val="accent1"/>
                </a:solidFill>
              </a:endParaRPr>
            </a:p>
          </p:txBody>
        </p:sp>
        <p:sp>
          <p:nvSpPr>
            <p:cNvPr id="27" name="Freeform 31"/>
            <p:cNvSpPr/>
            <p:nvPr userDrawn="1"/>
          </p:nvSpPr>
          <p:spPr>
            <a:xfrm>
              <a:off x="8653685" y="164584"/>
              <a:ext cx="208171" cy="182993"/>
            </a:xfrm>
            <a:custGeom>
              <a:avLst/>
              <a:gdLst>
                <a:gd name="connsiteX0" fmla="*/ 0 w 688182"/>
                <a:gd name="connsiteY0" fmla="*/ 950119 h 950119"/>
                <a:gd name="connsiteX1" fmla="*/ 611982 w 688182"/>
                <a:gd name="connsiteY1" fmla="*/ 950119 h 950119"/>
                <a:gd name="connsiteX2" fmla="*/ 688182 w 688182"/>
                <a:gd name="connsiteY2" fmla="*/ 0 h 950119"/>
                <a:gd name="connsiteX3" fmla="*/ 0 w 688182"/>
                <a:gd name="connsiteY3" fmla="*/ 950119 h 950119"/>
                <a:gd name="connsiteX0" fmla="*/ 0 w 688182"/>
                <a:gd name="connsiteY0" fmla="*/ 950119 h 950119"/>
                <a:gd name="connsiteX1" fmla="*/ 611982 w 688182"/>
                <a:gd name="connsiteY1" fmla="*/ 950119 h 950119"/>
                <a:gd name="connsiteX2" fmla="*/ 688182 w 688182"/>
                <a:gd name="connsiteY2" fmla="*/ 0 h 950119"/>
                <a:gd name="connsiteX3" fmla="*/ 214313 w 688182"/>
                <a:gd name="connsiteY3" fmla="*/ 652463 h 950119"/>
                <a:gd name="connsiteX4" fmla="*/ 0 w 688182"/>
                <a:gd name="connsiteY4" fmla="*/ 950119 h 950119"/>
                <a:gd name="connsiteX0" fmla="*/ 0 w 688182"/>
                <a:gd name="connsiteY0" fmla="*/ 950119 h 950119"/>
                <a:gd name="connsiteX1" fmla="*/ 611982 w 688182"/>
                <a:gd name="connsiteY1" fmla="*/ 950119 h 950119"/>
                <a:gd name="connsiteX2" fmla="*/ 688182 w 688182"/>
                <a:gd name="connsiteY2" fmla="*/ 0 h 950119"/>
                <a:gd name="connsiteX3" fmla="*/ 111919 w 688182"/>
                <a:gd name="connsiteY3" fmla="*/ 95250 h 950119"/>
                <a:gd name="connsiteX4" fmla="*/ 0 w 688182"/>
                <a:gd name="connsiteY4" fmla="*/ 950119 h 950119"/>
                <a:gd name="connsiteX0" fmla="*/ 0 w 723900"/>
                <a:gd name="connsiteY0" fmla="*/ 1395413 h 1395413"/>
                <a:gd name="connsiteX1" fmla="*/ 611982 w 723900"/>
                <a:gd name="connsiteY1" fmla="*/ 1395413 h 1395413"/>
                <a:gd name="connsiteX2" fmla="*/ 723900 w 723900"/>
                <a:gd name="connsiteY2" fmla="*/ 0 h 1395413"/>
                <a:gd name="connsiteX3" fmla="*/ 111919 w 723900"/>
                <a:gd name="connsiteY3" fmla="*/ 540544 h 1395413"/>
                <a:gd name="connsiteX4" fmla="*/ 0 w 723900"/>
                <a:gd name="connsiteY4" fmla="*/ 1395413 h 1395413"/>
                <a:gd name="connsiteX0" fmla="*/ 0 w 723900"/>
                <a:gd name="connsiteY0" fmla="*/ 2031206 h 2031206"/>
                <a:gd name="connsiteX1" fmla="*/ 611982 w 723900"/>
                <a:gd name="connsiteY1" fmla="*/ 2031206 h 2031206"/>
                <a:gd name="connsiteX2" fmla="*/ 723900 w 723900"/>
                <a:gd name="connsiteY2" fmla="*/ 635793 h 2031206"/>
                <a:gd name="connsiteX3" fmla="*/ 266700 w 723900"/>
                <a:gd name="connsiteY3" fmla="*/ 0 h 2031206"/>
                <a:gd name="connsiteX4" fmla="*/ 0 w 723900"/>
                <a:gd name="connsiteY4" fmla="*/ 2031206 h 2031206"/>
                <a:gd name="connsiteX0" fmla="*/ 0 w 723900"/>
                <a:gd name="connsiteY0" fmla="*/ 2195513 h 2195513"/>
                <a:gd name="connsiteX1" fmla="*/ 611982 w 723900"/>
                <a:gd name="connsiteY1" fmla="*/ 2195513 h 2195513"/>
                <a:gd name="connsiteX2" fmla="*/ 723900 w 723900"/>
                <a:gd name="connsiteY2" fmla="*/ 800100 h 2195513"/>
                <a:gd name="connsiteX3" fmla="*/ 283369 w 723900"/>
                <a:gd name="connsiteY3" fmla="*/ 0 h 2195513"/>
                <a:gd name="connsiteX4" fmla="*/ 0 w 723900"/>
                <a:gd name="connsiteY4" fmla="*/ 2195513 h 2195513"/>
                <a:gd name="connsiteX0" fmla="*/ 0 w 723900"/>
                <a:gd name="connsiteY0" fmla="*/ 2195513 h 2195513"/>
                <a:gd name="connsiteX1" fmla="*/ 611982 w 723900"/>
                <a:gd name="connsiteY1" fmla="*/ 2195513 h 2195513"/>
                <a:gd name="connsiteX2" fmla="*/ 723900 w 723900"/>
                <a:gd name="connsiteY2" fmla="*/ 800100 h 2195513"/>
                <a:gd name="connsiteX3" fmla="*/ 500063 w 723900"/>
                <a:gd name="connsiteY3" fmla="*/ 388145 h 2195513"/>
                <a:gd name="connsiteX4" fmla="*/ 283369 w 723900"/>
                <a:gd name="connsiteY4" fmla="*/ 0 h 2195513"/>
                <a:gd name="connsiteX5" fmla="*/ 0 w 723900"/>
                <a:gd name="connsiteY5" fmla="*/ 2195513 h 2195513"/>
                <a:gd name="connsiteX0" fmla="*/ 0 w 945356"/>
                <a:gd name="connsiteY0" fmla="*/ 2195513 h 2195513"/>
                <a:gd name="connsiteX1" fmla="*/ 611982 w 945356"/>
                <a:gd name="connsiteY1" fmla="*/ 2195513 h 2195513"/>
                <a:gd name="connsiteX2" fmla="*/ 723900 w 945356"/>
                <a:gd name="connsiteY2" fmla="*/ 800100 h 2195513"/>
                <a:gd name="connsiteX3" fmla="*/ 945356 w 945356"/>
                <a:gd name="connsiteY3" fmla="*/ 2382 h 2195513"/>
                <a:gd name="connsiteX4" fmla="*/ 283369 w 945356"/>
                <a:gd name="connsiteY4" fmla="*/ 0 h 2195513"/>
                <a:gd name="connsiteX5" fmla="*/ 0 w 945356"/>
                <a:gd name="connsiteY5" fmla="*/ 2195513 h 2195513"/>
                <a:gd name="connsiteX0" fmla="*/ 0 w 945356"/>
                <a:gd name="connsiteY0" fmla="*/ 2195513 h 2195513"/>
                <a:gd name="connsiteX1" fmla="*/ 611982 w 945356"/>
                <a:gd name="connsiteY1" fmla="*/ 2195513 h 2195513"/>
                <a:gd name="connsiteX2" fmla="*/ 723900 w 945356"/>
                <a:gd name="connsiteY2" fmla="*/ 800100 h 2195513"/>
                <a:gd name="connsiteX3" fmla="*/ 790575 w 945356"/>
                <a:gd name="connsiteY3" fmla="*/ 545308 h 2195513"/>
                <a:gd name="connsiteX4" fmla="*/ 945356 w 945356"/>
                <a:gd name="connsiteY4" fmla="*/ 2382 h 2195513"/>
                <a:gd name="connsiteX5" fmla="*/ 283369 w 945356"/>
                <a:gd name="connsiteY5" fmla="*/ 0 h 2195513"/>
                <a:gd name="connsiteX6" fmla="*/ 0 w 945356"/>
                <a:gd name="connsiteY6" fmla="*/ 2195513 h 2195513"/>
                <a:gd name="connsiteX0" fmla="*/ 0 w 1252537"/>
                <a:gd name="connsiteY0" fmla="*/ 2195513 h 2195513"/>
                <a:gd name="connsiteX1" fmla="*/ 611982 w 1252537"/>
                <a:gd name="connsiteY1" fmla="*/ 2195513 h 2195513"/>
                <a:gd name="connsiteX2" fmla="*/ 723900 w 1252537"/>
                <a:gd name="connsiteY2" fmla="*/ 800100 h 2195513"/>
                <a:gd name="connsiteX3" fmla="*/ 1252537 w 1252537"/>
                <a:gd name="connsiteY3" fmla="*/ 1333501 h 2195513"/>
                <a:gd name="connsiteX4" fmla="*/ 945356 w 1252537"/>
                <a:gd name="connsiteY4" fmla="*/ 2382 h 2195513"/>
                <a:gd name="connsiteX5" fmla="*/ 283369 w 1252537"/>
                <a:gd name="connsiteY5" fmla="*/ 0 h 2195513"/>
                <a:gd name="connsiteX6" fmla="*/ 0 w 1252537"/>
                <a:gd name="connsiteY6" fmla="*/ 2195513 h 2195513"/>
                <a:gd name="connsiteX0" fmla="*/ 0 w 1252537"/>
                <a:gd name="connsiteY0" fmla="*/ 2195513 h 2195513"/>
                <a:gd name="connsiteX1" fmla="*/ 611982 w 1252537"/>
                <a:gd name="connsiteY1" fmla="*/ 2195513 h 2195513"/>
                <a:gd name="connsiteX2" fmla="*/ 723900 w 1252537"/>
                <a:gd name="connsiteY2" fmla="*/ 800100 h 2195513"/>
                <a:gd name="connsiteX3" fmla="*/ 1031082 w 1252537"/>
                <a:gd name="connsiteY3" fmla="*/ 1112045 h 2195513"/>
                <a:gd name="connsiteX4" fmla="*/ 1252537 w 1252537"/>
                <a:gd name="connsiteY4" fmla="*/ 1333501 h 2195513"/>
                <a:gd name="connsiteX5" fmla="*/ 945356 w 1252537"/>
                <a:gd name="connsiteY5" fmla="*/ 2382 h 2195513"/>
                <a:gd name="connsiteX6" fmla="*/ 283369 w 1252537"/>
                <a:gd name="connsiteY6" fmla="*/ 0 h 2195513"/>
                <a:gd name="connsiteX7" fmla="*/ 0 w 1252537"/>
                <a:gd name="connsiteY7" fmla="*/ 2195513 h 2195513"/>
                <a:gd name="connsiteX0" fmla="*/ 0 w 1252537"/>
                <a:gd name="connsiteY0" fmla="*/ 2195513 h 2195513"/>
                <a:gd name="connsiteX1" fmla="*/ 611982 w 1252537"/>
                <a:gd name="connsiteY1" fmla="*/ 2195513 h 2195513"/>
                <a:gd name="connsiteX2" fmla="*/ 723900 w 1252537"/>
                <a:gd name="connsiteY2" fmla="*/ 800100 h 2195513"/>
                <a:gd name="connsiteX3" fmla="*/ 1007270 w 1252537"/>
                <a:gd name="connsiteY3" fmla="*/ 2193132 h 2195513"/>
                <a:gd name="connsiteX4" fmla="*/ 1252537 w 1252537"/>
                <a:gd name="connsiteY4" fmla="*/ 1333501 h 2195513"/>
                <a:gd name="connsiteX5" fmla="*/ 945356 w 1252537"/>
                <a:gd name="connsiteY5" fmla="*/ 2382 h 2195513"/>
                <a:gd name="connsiteX6" fmla="*/ 283369 w 1252537"/>
                <a:gd name="connsiteY6" fmla="*/ 0 h 2195513"/>
                <a:gd name="connsiteX7" fmla="*/ 0 w 1252537"/>
                <a:gd name="connsiteY7" fmla="*/ 2195513 h 2195513"/>
                <a:gd name="connsiteX0" fmla="*/ 0 w 1252537"/>
                <a:gd name="connsiteY0" fmla="*/ 2195513 h 2195513"/>
                <a:gd name="connsiteX1" fmla="*/ 611982 w 1252537"/>
                <a:gd name="connsiteY1" fmla="*/ 2195513 h 2195513"/>
                <a:gd name="connsiteX2" fmla="*/ 723900 w 1252537"/>
                <a:gd name="connsiteY2" fmla="*/ 800100 h 2195513"/>
                <a:gd name="connsiteX3" fmla="*/ 1007270 w 1252537"/>
                <a:gd name="connsiteY3" fmla="*/ 2193132 h 2195513"/>
                <a:gd name="connsiteX4" fmla="*/ 1173957 w 1252537"/>
                <a:gd name="connsiteY4" fmla="*/ 1600202 h 2195513"/>
                <a:gd name="connsiteX5" fmla="*/ 1252537 w 1252537"/>
                <a:gd name="connsiteY5" fmla="*/ 1333501 h 2195513"/>
                <a:gd name="connsiteX6" fmla="*/ 945356 w 1252537"/>
                <a:gd name="connsiteY6" fmla="*/ 2382 h 2195513"/>
                <a:gd name="connsiteX7" fmla="*/ 283369 w 1252537"/>
                <a:gd name="connsiteY7" fmla="*/ 0 h 2195513"/>
                <a:gd name="connsiteX8" fmla="*/ 0 w 1252537"/>
                <a:gd name="connsiteY8" fmla="*/ 2195513 h 2195513"/>
                <a:gd name="connsiteX0" fmla="*/ 0 w 1488282"/>
                <a:gd name="connsiteY0" fmla="*/ 2195513 h 2195514"/>
                <a:gd name="connsiteX1" fmla="*/ 611982 w 1488282"/>
                <a:gd name="connsiteY1" fmla="*/ 2195513 h 2195514"/>
                <a:gd name="connsiteX2" fmla="*/ 723900 w 1488282"/>
                <a:gd name="connsiteY2" fmla="*/ 800100 h 2195514"/>
                <a:gd name="connsiteX3" fmla="*/ 1007270 w 1488282"/>
                <a:gd name="connsiteY3" fmla="*/ 2193132 h 2195514"/>
                <a:gd name="connsiteX4" fmla="*/ 1488282 w 1488282"/>
                <a:gd name="connsiteY4" fmla="*/ 2195514 h 2195514"/>
                <a:gd name="connsiteX5" fmla="*/ 1252537 w 1488282"/>
                <a:gd name="connsiteY5" fmla="*/ 1333501 h 2195514"/>
                <a:gd name="connsiteX6" fmla="*/ 945356 w 1488282"/>
                <a:gd name="connsiteY6" fmla="*/ 2382 h 2195514"/>
                <a:gd name="connsiteX7" fmla="*/ 283369 w 1488282"/>
                <a:gd name="connsiteY7" fmla="*/ 0 h 2195514"/>
                <a:gd name="connsiteX8" fmla="*/ 0 w 1488282"/>
                <a:gd name="connsiteY8" fmla="*/ 2195513 h 2195514"/>
                <a:gd name="connsiteX0" fmla="*/ 0 w 1488282"/>
                <a:gd name="connsiteY0" fmla="*/ 2195513 h 2195514"/>
                <a:gd name="connsiteX1" fmla="*/ 611982 w 1488282"/>
                <a:gd name="connsiteY1" fmla="*/ 2195513 h 2195514"/>
                <a:gd name="connsiteX2" fmla="*/ 723900 w 1488282"/>
                <a:gd name="connsiteY2" fmla="*/ 800100 h 2195514"/>
                <a:gd name="connsiteX3" fmla="*/ 1007270 w 1488282"/>
                <a:gd name="connsiteY3" fmla="*/ 2193132 h 2195514"/>
                <a:gd name="connsiteX4" fmla="*/ 1488282 w 1488282"/>
                <a:gd name="connsiteY4" fmla="*/ 2195514 h 2195514"/>
                <a:gd name="connsiteX5" fmla="*/ 1352549 w 1488282"/>
                <a:gd name="connsiteY5" fmla="*/ 1690688 h 2195514"/>
                <a:gd name="connsiteX6" fmla="*/ 1252537 w 1488282"/>
                <a:gd name="connsiteY6" fmla="*/ 1333501 h 2195514"/>
                <a:gd name="connsiteX7" fmla="*/ 945356 w 1488282"/>
                <a:gd name="connsiteY7" fmla="*/ 2382 h 2195514"/>
                <a:gd name="connsiteX8" fmla="*/ 283369 w 1488282"/>
                <a:gd name="connsiteY8" fmla="*/ 0 h 2195514"/>
                <a:gd name="connsiteX9" fmla="*/ 0 w 1488282"/>
                <a:gd name="connsiteY9" fmla="*/ 2195513 h 2195514"/>
                <a:gd name="connsiteX0" fmla="*/ 0 w 1781174"/>
                <a:gd name="connsiteY0" fmla="*/ 2195513 h 2195514"/>
                <a:gd name="connsiteX1" fmla="*/ 611982 w 1781174"/>
                <a:gd name="connsiteY1" fmla="*/ 2195513 h 2195514"/>
                <a:gd name="connsiteX2" fmla="*/ 723900 w 1781174"/>
                <a:gd name="connsiteY2" fmla="*/ 800100 h 2195514"/>
                <a:gd name="connsiteX3" fmla="*/ 1007270 w 1781174"/>
                <a:gd name="connsiteY3" fmla="*/ 2193132 h 2195514"/>
                <a:gd name="connsiteX4" fmla="*/ 1488282 w 1781174"/>
                <a:gd name="connsiteY4" fmla="*/ 2195514 h 2195514"/>
                <a:gd name="connsiteX5" fmla="*/ 1781174 w 1781174"/>
                <a:gd name="connsiteY5" fmla="*/ 792957 h 2195514"/>
                <a:gd name="connsiteX6" fmla="*/ 1252537 w 1781174"/>
                <a:gd name="connsiteY6" fmla="*/ 1333501 h 2195514"/>
                <a:gd name="connsiteX7" fmla="*/ 945356 w 1781174"/>
                <a:gd name="connsiteY7" fmla="*/ 2382 h 2195514"/>
                <a:gd name="connsiteX8" fmla="*/ 283369 w 1781174"/>
                <a:gd name="connsiteY8" fmla="*/ 0 h 2195514"/>
                <a:gd name="connsiteX9" fmla="*/ 0 w 1781174"/>
                <a:gd name="connsiteY9" fmla="*/ 2195513 h 2195514"/>
                <a:gd name="connsiteX0" fmla="*/ 0 w 1781174"/>
                <a:gd name="connsiteY0" fmla="*/ 2195513 h 2195514"/>
                <a:gd name="connsiteX1" fmla="*/ 611982 w 1781174"/>
                <a:gd name="connsiteY1" fmla="*/ 2195513 h 2195514"/>
                <a:gd name="connsiteX2" fmla="*/ 723900 w 1781174"/>
                <a:gd name="connsiteY2" fmla="*/ 800100 h 2195514"/>
                <a:gd name="connsiteX3" fmla="*/ 1007270 w 1781174"/>
                <a:gd name="connsiteY3" fmla="*/ 2193132 h 2195514"/>
                <a:gd name="connsiteX4" fmla="*/ 1488282 w 1781174"/>
                <a:gd name="connsiteY4" fmla="*/ 2195514 h 2195514"/>
                <a:gd name="connsiteX5" fmla="*/ 1781174 w 1781174"/>
                <a:gd name="connsiteY5" fmla="*/ 792957 h 2195514"/>
                <a:gd name="connsiteX6" fmla="*/ 1528762 w 1781174"/>
                <a:gd name="connsiteY6" fmla="*/ 1052513 h 2195514"/>
                <a:gd name="connsiteX7" fmla="*/ 1252537 w 1781174"/>
                <a:gd name="connsiteY7" fmla="*/ 1333501 h 2195514"/>
                <a:gd name="connsiteX8" fmla="*/ 945356 w 1781174"/>
                <a:gd name="connsiteY8" fmla="*/ 2382 h 2195514"/>
                <a:gd name="connsiteX9" fmla="*/ 283369 w 1781174"/>
                <a:gd name="connsiteY9" fmla="*/ 0 h 2195514"/>
                <a:gd name="connsiteX10" fmla="*/ 0 w 1781174"/>
                <a:gd name="connsiteY10" fmla="*/ 2195513 h 2195514"/>
                <a:gd name="connsiteX0" fmla="*/ 0 w 1781174"/>
                <a:gd name="connsiteY0" fmla="*/ 2197894 h 2197895"/>
                <a:gd name="connsiteX1" fmla="*/ 611982 w 1781174"/>
                <a:gd name="connsiteY1" fmla="*/ 2197894 h 2197895"/>
                <a:gd name="connsiteX2" fmla="*/ 723900 w 1781174"/>
                <a:gd name="connsiteY2" fmla="*/ 802481 h 2197895"/>
                <a:gd name="connsiteX3" fmla="*/ 1007270 w 1781174"/>
                <a:gd name="connsiteY3" fmla="*/ 2195513 h 2197895"/>
                <a:gd name="connsiteX4" fmla="*/ 1488282 w 1781174"/>
                <a:gd name="connsiteY4" fmla="*/ 2197895 h 2197895"/>
                <a:gd name="connsiteX5" fmla="*/ 1781174 w 1781174"/>
                <a:gd name="connsiteY5" fmla="*/ 795338 h 2197895"/>
                <a:gd name="connsiteX6" fmla="*/ 1559719 w 1781174"/>
                <a:gd name="connsiteY6" fmla="*/ 0 h 2197895"/>
                <a:gd name="connsiteX7" fmla="*/ 1252537 w 1781174"/>
                <a:gd name="connsiteY7" fmla="*/ 1335882 h 2197895"/>
                <a:gd name="connsiteX8" fmla="*/ 945356 w 1781174"/>
                <a:gd name="connsiteY8" fmla="*/ 4763 h 2197895"/>
                <a:gd name="connsiteX9" fmla="*/ 283369 w 1781174"/>
                <a:gd name="connsiteY9" fmla="*/ 2381 h 2197895"/>
                <a:gd name="connsiteX10" fmla="*/ 0 w 1781174"/>
                <a:gd name="connsiteY10" fmla="*/ 2197894 h 2197895"/>
                <a:gd name="connsiteX0" fmla="*/ 0 w 1781174"/>
                <a:gd name="connsiteY0" fmla="*/ 2197894 h 2197895"/>
                <a:gd name="connsiteX1" fmla="*/ 611982 w 1781174"/>
                <a:gd name="connsiteY1" fmla="*/ 2197894 h 2197895"/>
                <a:gd name="connsiteX2" fmla="*/ 723900 w 1781174"/>
                <a:gd name="connsiteY2" fmla="*/ 802481 h 2197895"/>
                <a:gd name="connsiteX3" fmla="*/ 1007270 w 1781174"/>
                <a:gd name="connsiteY3" fmla="*/ 2195513 h 2197895"/>
                <a:gd name="connsiteX4" fmla="*/ 1488282 w 1781174"/>
                <a:gd name="connsiteY4" fmla="*/ 2197895 h 2197895"/>
                <a:gd name="connsiteX5" fmla="*/ 1781174 w 1781174"/>
                <a:gd name="connsiteY5" fmla="*/ 795338 h 2197895"/>
                <a:gd name="connsiteX6" fmla="*/ 1688306 w 1781174"/>
                <a:gd name="connsiteY6" fmla="*/ 454820 h 2197895"/>
                <a:gd name="connsiteX7" fmla="*/ 1559719 w 1781174"/>
                <a:gd name="connsiteY7" fmla="*/ 0 h 2197895"/>
                <a:gd name="connsiteX8" fmla="*/ 1252537 w 1781174"/>
                <a:gd name="connsiteY8" fmla="*/ 1335882 h 2197895"/>
                <a:gd name="connsiteX9" fmla="*/ 945356 w 1781174"/>
                <a:gd name="connsiteY9" fmla="*/ 4763 h 2197895"/>
                <a:gd name="connsiteX10" fmla="*/ 283369 w 1781174"/>
                <a:gd name="connsiteY10" fmla="*/ 2381 h 2197895"/>
                <a:gd name="connsiteX11" fmla="*/ 0 w 1781174"/>
                <a:gd name="connsiteY11" fmla="*/ 2197894 h 2197895"/>
                <a:gd name="connsiteX0" fmla="*/ 0 w 2212181"/>
                <a:gd name="connsiteY0" fmla="*/ 2197894 h 2197895"/>
                <a:gd name="connsiteX1" fmla="*/ 611982 w 2212181"/>
                <a:gd name="connsiteY1" fmla="*/ 2197894 h 2197895"/>
                <a:gd name="connsiteX2" fmla="*/ 723900 w 2212181"/>
                <a:gd name="connsiteY2" fmla="*/ 802481 h 2197895"/>
                <a:gd name="connsiteX3" fmla="*/ 1007270 w 2212181"/>
                <a:gd name="connsiteY3" fmla="*/ 2195513 h 2197895"/>
                <a:gd name="connsiteX4" fmla="*/ 1488282 w 2212181"/>
                <a:gd name="connsiteY4" fmla="*/ 2197895 h 2197895"/>
                <a:gd name="connsiteX5" fmla="*/ 1781174 w 2212181"/>
                <a:gd name="connsiteY5" fmla="*/ 795338 h 2197895"/>
                <a:gd name="connsiteX6" fmla="*/ 2212181 w 2212181"/>
                <a:gd name="connsiteY6" fmla="*/ 7145 h 2197895"/>
                <a:gd name="connsiteX7" fmla="*/ 1559719 w 2212181"/>
                <a:gd name="connsiteY7" fmla="*/ 0 h 2197895"/>
                <a:gd name="connsiteX8" fmla="*/ 1252537 w 2212181"/>
                <a:gd name="connsiteY8" fmla="*/ 1335882 h 2197895"/>
                <a:gd name="connsiteX9" fmla="*/ 945356 w 2212181"/>
                <a:gd name="connsiteY9" fmla="*/ 4763 h 2197895"/>
                <a:gd name="connsiteX10" fmla="*/ 283369 w 2212181"/>
                <a:gd name="connsiteY10" fmla="*/ 2381 h 2197895"/>
                <a:gd name="connsiteX11" fmla="*/ 0 w 2212181"/>
                <a:gd name="connsiteY11" fmla="*/ 2197894 h 2197895"/>
                <a:gd name="connsiteX0" fmla="*/ 0 w 2212181"/>
                <a:gd name="connsiteY0" fmla="*/ 2197894 h 2197895"/>
                <a:gd name="connsiteX1" fmla="*/ 611982 w 2212181"/>
                <a:gd name="connsiteY1" fmla="*/ 2197894 h 2197895"/>
                <a:gd name="connsiteX2" fmla="*/ 723900 w 2212181"/>
                <a:gd name="connsiteY2" fmla="*/ 802481 h 2197895"/>
                <a:gd name="connsiteX3" fmla="*/ 1007270 w 2212181"/>
                <a:gd name="connsiteY3" fmla="*/ 2195513 h 2197895"/>
                <a:gd name="connsiteX4" fmla="*/ 1488282 w 2212181"/>
                <a:gd name="connsiteY4" fmla="*/ 2197895 h 2197895"/>
                <a:gd name="connsiteX5" fmla="*/ 1781174 w 2212181"/>
                <a:gd name="connsiteY5" fmla="*/ 795338 h 2197895"/>
                <a:gd name="connsiteX6" fmla="*/ 2035968 w 2212181"/>
                <a:gd name="connsiteY6" fmla="*/ 328614 h 2197895"/>
                <a:gd name="connsiteX7" fmla="*/ 2212181 w 2212181"/>
                <a:gd name="connsiteY7" fmla="*/ 7145 h 2197895"/>
                <a:gd name="connsiteX8" fmla="*/ 1559719 w 2212181"/>
                <a:gd name="connsiteY8" fmla="*/ 0 h 2197895"/>
                <a:gd name="connsiteX9" fmla="*/ 1252537 w 2212181"/>
                <a:gd name="connsiteY9" fmla="*/ 1335882 h 2197895"/>
                <a:gd name="connsiteX10" fmla="*/ 945356 w 2212181"/>
                <a:gd name="connsiteY10" fmla="*/ 4763 h 2197895"/>
                <a:gd name="connsiteX11" fmla="*/ 283369 w 2212181"/>
                <a:gd name="connsiteY11" fmla="*/ 2381 h 2197895"/>
                <a:gd name="connsiteX12" fmla="*/ 0 w 2212181"/>
                <a:gd name="connsiteY12" fmla="*/ 2197894 h 2197895"/>
                <a:gd name="connsiteX0" fmla="*/ 0 w 2500312"/>
                <a:gd name="connsiteY0" fmla="*/ 2197894 h 2197895"/>
                <a:gd name="connsiteX1" fmla="*/ 611982 w 2500312"/>
                <a:gd name="connsiteY1" fmla="*/ 2197894 h 2197895"/>
                <a:gd name="connsiteX2" fmla="*/ 723900 w 2500312"/>
                <a:gd name="connsiteY2" fmla="*/ 802481 h 2197895"/>
                <a:gd name="connsiteX3" fmla="*/ 1007270 w 2500312"/>
                <a:gd name="connsiteY3" fmla="*/ 2195513 h 2197895"/>
                <a:gd name="connsiteX4" fmla="*/ 1488282 w 2500312"/>
                <a:gd name="connsiteY4" fmla="*/ 2197895 h 2197895"/>
                <a:gd name="connsiteX5" fmla="*/ 1781174 w 2500312"/>
                <a:gd name="connsiteY5" fmla="*/ 795338 h 2197895"/>
                <a:gd name="connsiteX6" fmla="*/ 2500312 w 2500312"/>
                <a:gd name="connsiteY6" fmla="*/ 2197895 h 2197895"/>
                <a:gd name="connsiteX7" fmla="*/ 2212181 w 2500312"/>
                <a:gd name="connsiteY7" fmla="*/ 7145 h 2197895"/>
                <a:gd name="connsiteX8" fmla="*/ 1559719 w 2500312"/>
                <a:gd name="connsiteY8" fmla="*/ 0 h 2197895"/>
                <a:gd name="connsiteX9" fmla="*/ 1252537 w 2500312"/>
                <a:gd name="connsiteY9" fmla="*/ 1335882 h 2197895"/>
                <a:gd name="connsiteX10" fmla="*/ 945356 w 2500312"/>
                <a:gd name="connsiteY10" fmla="*/ 4763 h 2197895"/>
                <a:gd name="connsiteX11" fmla="*/ 283369 w 2500312"/>
                <a:gd name="connsiteY11" fmla="*/ 2381 h 2197895"/>
                <a:gd name="connsiteX12" fmla="*/ 0 w 2500312"/>
                <a:gd name="connsiteY12" fmla="*/ 2197894 h 2197895"/>
                <a:gd name="connsiteX0" fmla="*/ 0 w 2500312"/>
                <a:gd name="connsiteY0" fmla="*/ 2197894 h 2197895"/>
                <a:gd name="connsiteX1" fmla="*/ 611982 w 2500312"/>
                <a:gd name="connsiteY1" fmla="*/ 2197894 h 2197895"/>
                <a:gd name="connsiteX2" fmla="*/ 723900 w 2500312"/>
                <a:gd name="connsiteY2" fmla="*/ 802481 h 2197895"/>
                <a:gd name="connsiteX3" fmla="*/ 1007270 w 2500312"/>
                <a:gd name="connsiteY3" fmla="*/ 2195513 h 2197895"/>
                <a:gd name="connsiteX4" fmla="*/ 1488282 w 2500312"/>
                <a:gd name="connsiteY4" fmla="*/ 2197895 h 2197895"/>
                <a:gd name="connsiteX5" fmla="*/ 1781174 w 2500312"/>
                <a:gd name="connsiteY5" fmla="*/ 795338 h 2197895"/>
                <a:gd name="connsiteX6" fmla="*/ 2190748 w 2500312"/>
                <a:gd name="connsiteY6" fmla="*/ 1595439 h 2197895"/>
                <a:gd name="connsiteX7" fmla="*/ 2500312 w 2500312"/>
                <a:gd name="connsiteY7" fmla="*/ 2197895 h 2197895"/>
                <a:gd name="connsiteX8" fmla="*/ 2212181 w 2500312"/>
                <a:gd name="connsiteY8" fmla="*/ 7145 h 2197895"/>
                <a:gd name="connsiteX9" fmla="*/ 1559719 w 2500312"/>
                <a:gd name="connsiteY9" fmla="*/ 0 h 2197895"/>
                <a:gd name="connsiteX10" fmla="*/ 1252537 w 2500312"/>
                <a:gd name="connsiteY10" fmla="*/ 1335882 h 2197895"/>
                <a:gd name="connsiteX11" fmla="*/ 945356 w 2500312"/>
                <a:gd name="connsiteY11" fmla="*/ 4763 h 2197895"/>
                <a:gd name="connsiteX12" fmla="*/ 283369 w 2500312"/>
                <a:gd name="connsiteY12" fmla="*/ 2381 h 2197895"/>
                <a:gd name="connsiteX13" fmla="*/ 0 w 2500312"/>
                <a:gd name="connsiteY13" fmla="*/ 2197894 h 2197895"/>
                <a:gd name="connsiteX0" fmla="*/ 0 w 2500312"/>
                <a:gd name="connsiteY0" fmla="*/ 2197894 h 2197895"/>
                <a:gd name="connsiteX1" fmla="*/ 611982 w 2500312"/>
                <a:gd name="connsiteY1" fmla="*/ 2197894 h 2197895"/>
                <a:gd name="connsiteX2" fmla="*/ 723900 w 2500312"/>
                <a:gd name="connsiteY2" fmla="*/ 802481 h 2197895"/>
                <a:gd name="connsiteX3" fmla="*/ 1007270 w 2500312"/>
                <a:gd name="connsiteY3" fmla="*/ 2195513 h 2197895"/>
                <a:gd name="connsiteX4" fmla="*/ 1488282 w 2500312"/>
                <a:gd name="connsiteY4" fmla="*/ 2197895 h 2197895"/>
                <a:gd name="connsiteX5" fmla="*/ 1781174 w 2500312"/>
                <a:gd name="connsiteY5" fmla="*/ 795338 h 2197895"/>
                <a:gd name="connsiteX6" fmla="*/ 1883567 w 2500312"/>
                <a:gd name="connsiteY6" fmla="*/ 2195514 h 2197895"/>
                <a:gd name="connsiteX7" fmla="*/ 2500312 w 2500312"/>
                <a:gd name="connsiteY7" fmla="*/ 2197895 h 2197895"/>
                <a:gd name="connsiteX8" fmla="*/ 2212181 w 2500312"/>
                <a:gd name="connsiteY8" fmla="*/ 7145 h 2197895"/>
                <a:gd name="connsiteX9" fmla="*/ 1559719 w 2500312"/>
                <a:gd name="connsiteY9" fmla="*/ 0 h 2197895"/>
                <a:gd name="connsiteX10" fmla="*/ 1252537 w 2500312"/>
                <a:gd name="connsiteY10" fmla="*/ 1335882 h 2197895"/>
                <a:gd name="connsiteX11" fmla="*/ 945356 w 2500312"/>
                <a:gd name="connsiteY11" fmla="*/ 4763 h 2197895"/>
                <a:gd name="connsiteX12" fmla="*/ 283369 w 2500312"/>
                <a:gd name="connsiteY12" fmla="*/ 2381 h 2197895"/>
                <a:gd name="connsiteX13" fmla="*/ 0 w 2500312"/>
                <a:gd name="connsiteY13" fmla="*/ 2197894 h 2197895"/>
                <a:gd name="connsiteX0" fmla="*/ 0 w 2500312"/>
                <a:gd name="connsiteY0" fmla="*/ 2197894 h 2197895"/>
                <a:gd name="connsiteX1" fmla="*/ 611982 w 2500312"/>
                <a:gd name="connsiteY1" fmla="*/ 2197894 h 2197895"/>
                <a:gd name="connsiteX2" fmla="*/ 723900 w 2500312"/>
                <a:gd name="connsiteY2" fmla="*/ 802481 h 2197895"/>
                <a:gd name="connsiteX3" fmla="*/ 1007270 w 2500312"/>
                <a:gd name="connsiteY3" fmla="*/ 2195513 h 2197895"/>
                <a:gd name="connsiteX4" fmla="*/ 1488282 w 2500312"/>
                <a:gd name="connsiteY4" fmla="*/ 2197895 h 2197895"/>
                <a:gd name="connsiteX5" fmla="*/ 1776411 w 2500312"/>
                <a:gd name="connsiteY5" fmla="*/ 809626 h 2197895"/>
                <a:gd name="connsiteX6" fmla="*/ 1883567 w 2500312"/>
                <a:gd name="connsiteY6" fmla="*/ 2195514 h 2197895"/>
                <a:gd name="connsiteX7" fmla="*/ 2500312 w 2500312"/>
                <a:gd name="connsiteY7" fmla="*/ 2197895 h 2197895"/>
                <a:gd name="connsiteX8" fmla="*/ 2212181 w 2500312"/>
                <a:gd name="connsiteY8" fmla="*/ 7145 h 2197895"/>
                <a:gd name="connsiteX9" fmla="*/ 1559719 w 2500312"/>
                <a:gd name="connsiteY9" fmla="*/ 0 h 2197895"/>
                <a:gd name="connsiteX10" fmla="*/ 1252537 w 2500312"/>
                <a:gd name="connsiteY10" fmla="*/ 1335882 h 2197895"/>
                <a:gd name="connsiteX11" fmla="*/ 945356 w 2500312"/>
                <a:gd name="connsiteY11" fmla="*/ 4763 h 2197895"/>
                <a:gd name="connsiteX12" fmla="*/ 283369 w 2500312"/>
                <a:gd name="connsiteY12" fmla="*/ 2381 h 2197895"/>
                <a:gd name="connsiteX13" fmla="*/ 0 w 2500312"/>
                <a:gd name="connsiteY13" fmla="*/ 2197894 h 2197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500312" h="2197895">
                  <a:moveTo>
                    <a:pt x="0" y="2197894"/>
                  </a:moveTo>
                  <a:lnTo>
                    <a:pt x="611982" y="2197894"/>
                  </a:lnTo>
                  <a:lnTo>
                    <a:pt x="723900" y="802481"/>
                  </a:lnTo>
                  <a:lnTo>
                    <a:pt x="1007270" y="2195513"/>
                  </a:lnTo>
                  <a:lnTo>
                    <a:pt x="1488282" y="2197895"/>
                  </a:lnTo>
                  <a:lnTo>
                    <a:pt x="1776411" y="809626"/>
                  </a:lnTo>
                  <a:lnTo>
                    <a:pt x="1883567" y="2195514"/>
                  </a:lnTo>
                  <a:lnTo>
                    <a:pt x="2500312" y="2197895"/>
                  </a:lnTo>
                  <a:lnTo>
                    <a:pt x="2212181" y="7145"/>
                  </a:lnTo>
                  <a:lnTo>
                    <a:pt x="1559719" y="0"/>
                  </a:lnTo>
                  <a:lnTo>
                    <a:pt x="1252537" y="1335882"/>
                  </a:lnTo>
                  <a:lnTo>
                    <a:pt x="945356" y="4763"/>
                  </a:lnTo>
                  <a:lnTo>
                    <a:pt x="283369" y="2381"/>
                  </a:lnTo>
                  <a:lnTo>
                    <a:pt x="0" y="2197894"/>
                  </a:lnTo>
                  <a:close/>
                </a:path>
              </a:pathLst>
            </a:custGeom>
            <a:solidFill>
              <a:srgbClr val="0F238D"/>
            </a:solidFill>
            <a:ln w="190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noProof="0">
                <a:solidFill>
                  <a:schemeClr val="accent1"/>
                </a:solidFill>
              </a:endParaRPr>
            </a:p>
          </p:txBody>
        </p:sp>
        <p:sp>
          <p:nvSpPr>
            <p:cNvPr id="28" name="Freeform 32"/>
            <p:cNvSpPr/>
            <p:nvPr userDrawn="1"/>
          </p:nvSpPr>
          <p:spPr>
            <a:xfrm>
              <a:off x="8887233" y="164981"/>
              <a:ext cx="116972" cy="182397"/>
            </a:xfrm>
            <a:custGeom>
              <a:avLst/>
              <a:gdLst>
                <a:gd name="connsiteX0" fmla="*/ 0 w 1428750"/>
                <a:gd name="connsiteY0" fmla="*/ 997744 h 997744"/>
                <a:gd name="connsiteX1" fmla="*/ 1404937 w 1428750"/>
                <a:gd name="connsiteY1" fmla="*/ 997744 h 997744"/>
                <a:gd name="connsiteX2" fmla="*/ 1404937 w 1428750"/>
                <a:gd name="connsiteY2" fmla="*/ 538163 h 997744"/>
                <a:gd name="connsiteX3" fmla="*/ 1428750 w 1428750"/>
                <a:gd name="connsiteY3" fmla="*/ 540544 h 997744"/>
                <a:gd name="connsiteX4" fmla="*/ 590550 w 1428750"/>
                <a:gd name="connsiteY4" fmla="*/ 540544 h 997744"/>
                <a:gd name="connsiteX5" fmla="*/ 590550 w 1428750"/>
                <a:gd name="connsiteY5" fmla="*/ 0 h 997744"/>
                <a:gd name="connsiteX6" fmla="*/ 0 w 1428750"/>
                <a:gd name="connsiteY6" fmla="*/ 0 h 997744"/>
                <a:gd name="connsiteX7" fmla="*/ 0 w 1428750"/>
                <a:gd name="connsiteY7" fmla="*/ 997744 h 997744"/>
                <a:gd name="connsiteX0" fmla="*/ 0 w 1404937"/>
                <a:gd name="connsiteY0" fmla="*/ 997744 h 997744"/>
                <a:gd name="connsiteX1" fmla="*/ 1404937 w 1404937"/>
                <a:gd name="connsiteY1" fmla="*/ 997744 h 997744"/>
                <a:gd name="connsiteX2" fmla="*/ 1404937 w 1404937"/>
                <a:gd name="connsiteY2" fmla="*/ 538163 h 997744"/>
                <a:gd name="connsiteX3" fmla="*/ 1219200 w 1404937"/>
                <a:gd name="connsiteY3" fmla="*/ 476250 h 997744"/>
                <a:gd name="connsiteX4" fmla="*/ 590550 w 1404937"/>
                <a:gd name="connsiteY4" fmla="*/ 540544 h 997744"/>
                <a:gd name="connsiteX5" fmla="*/ 590550 w 1404937"/>
                <a:gd name="connsiteY5" fmla="*/ 0 h 997744"/>
                <a:gd name="connsiteX6" fmla="*/ 0 w 1404937"/>
                <a:gd name="connsiteY6" fmla="*/ 0 h 997744"/>
                <a:gd name="connsiteX7" fmla="*/ 0 w 1404937"/>
                <a:gd name="connsiteY7" fmla="*/ 997744 h 997744"/>
                <a:gd name="connsiteX0" fmla="*/ 0 w 1404937"/>
                <a:gd name="connsiteY0" fmla="*/ 997744 h 997744"/>
                <a:gd name="connsiteX1" fmla="*/ 1404937 w 1404937"/>
                <a:gd name="connsiteY1" fmla="*/ 997744 h 997744"/>
                <a:gd name="connsiteX2" fmla="*/ 1404937 w 1404937"/>
                <a:gd name="connsiteY2" fmla="*/ 538163 h 997744"/>
                <a:gd name="connsiteX3" fmla="*/ 590550 w 1404937"/>
                <a:gd name="connsiteY3" fmla="*/ 540544 h 997744"/>
                <a:gd name="connsiteX4" fmla="*/ 590550 w 1404937"/>
                <a:gd name="connsiteY4" fmla="*/ 0 h 997744"/>
                <a:gd name="connsiteX5" fmla="*/ 0 w 1404937"/>
                <a:gd name="connsiteY5" fmla="*/ 0 h 997744"/>
                <a:gd name="connsiteX6" fmla="*/ 0 w 1404937"/>
                <a:gd name="connsiteY6" fmla="*/ 997744 h 997744"/>
                <a:gd name="connsiteX0" fmla="*/ 0 w 1404937"/>
                <a:gd name="connsiteY0" fmla="*/ 1614488 h 1614488"/>
                <a:gd name="connsiteX1" fmla="*/ 1404937 w 1404937"/>
                <a:gd name="connsiteY1" fmla="*/ 1614488 h 1614488"/>
                <a:gd name="connsiteX2" fmla="*/ 1404937 w 1404937"/>
                <a:gd name="connsiteY2" fmla="*/ 1154907 h 1614488"/>
                <a:gd name="connsiteX3" fmla="*/ 590550 w 1404937"/>
                <a:gd name="connsiteY3" fmla="*/ 1157288 h 1614488"/>
                <a:gd name="connsiteX4" fmla="*/ 592931 w 1404937"/>
                <a:gd name="connsiteY4" fmla="*/ 0 h 1614488"/>
                <a:gd name="connsiteX5" fmla="*/ 0 w 1404937"/>
                <a:gd name="connsiteY5" fmla="*/ 616744 h 1614488"/>
                <a:gd name="connsiteX6" fmla="*/ 0 w 1404937"/>
                <a:gd name="connsiteY6" fmla="*/ 1614488 h 1614488"/>
                <a:gd name="connsiteX0" fmla="*/ 0 w 1404937"/>
                <a:gd name="connsiteY0" fmla="*/ 2188369 h 2188369"/>
                <a:gd name="connsiteX1" fmla="*/ 1404937 w 1404937"/>
                <a:gd name="connsiteY1" fmla="*/ 2188369 h 2188369"/>
                <a:gd name="connsiteX2" fmla="*/ 1404937 w 1404937"/>
                <a:gd name="connsiteY2" fmla="*/ 1728788 h 2188369"/>
                <a:gd name="connsiteX3" fmla="*/ 590550 w 1404937"/>
                <a:gd name="connsiteY3" fmla="*/ 1731169 h 2188369"/>
                <a:gd name="connsiteX4" fmla="*/ 592931 w 1404937"/>
                <a:gd name="connsiteY4" fmla="*/ 573881 h 2188369"/>
                <a:gd name="connsiteX5" fmla="*/ 2382 w 1404937"/>
                <a:gd name="connsiteY5" fmla="*/ 0 h 2188369"/>
                <a:gd name="connsiteX6" fmla="*/ 0 w 1404937"/>
                <a:gd name="connsiteY6" fmla="*/ 2188369 h 2188369"/>
                <a:gd name="connsiteX0" fmla="*/ 0 w 1404937"/>
                <a:gd name="connsiteY0" fmla="*/ 2190750 h 2190750"/>
                <a:gd name="connsiteX1" fmla="*/ 1404937 w 1404937"/>
                <a:gd name="connsiteY1" fmla="*/ 2190750 h 2190750"/>
                <a:gd name="connsiteX2" fmla="*/ 1404937 w 1404937"/>
                <a:gd name="connsiteY2" fmla="*/ 1731169 h 2190750"/>
                <a:gd name="connsiteX3" fmla="*/ 590550 w 1404937"/>
                <a:gd name="connsiteY3" fmla="*/ 1733550 h 2190750"/>
                <a:gd name="connsiteX4" fmla="*/ 592931 w 1404937"/>
                <a:gd name="connsiteY4" fmla="*/ 0 h 2190750"/>
                <a:gd name="connsiteX5" fmla="*/ 2382 w 1404937"/>
                <a:gd name="connsiteY5" fmla="*/ 2381 h 2190750"/>
                <a:gd name="connsiteX6" fmla="*/ 0 w 1404937"/>
                <a:gd name="connsiteY6" fmla="*/ 2190750 h 2190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04937" h="2190750">
                  <a:moveTo>
                    <a:pt x="0" y="2190750"/>
                  </a:moveTo>
                  <a:lnTo>
                    <a:pt x="1404937" y="2190750"/>
                  </a:lnTo>
                  <a:lnTo>
                    <a:pt x="1404937" y="1731169"/>
                  </a:lnTo>
                  <a:lnTo>
                    <a:pt x="590550" y="1733550"/>
                  </a:lnTo>
                  <a:cubicBezTo>
                    <a:pt x="591344" y="1347787"/>
                    <a:pt x="592137" y="385763"/>
                    <a:pt x="592931" y="0"/>
                  </a:cubicBezTo>
                  <a:lnTo>
                    <a:pt x="2382" y="2381"/>
                  </a:lnTo>
                  <a:cubicBezTo>
                    <a:pt x="3969" y="334962"/>
                    <a:pt x="3175" y="1858169"/>
                    <a:pt x="0" y="2190750"/>
                  </a:cubicBezTo>
                  <a:close/>
                </a:path>
              </a:pathLst>
            </a:custGeom>
            <a:solidFill>
              <a:srgbClr val="0F238D"/>
            </a:solidFill>
            <a:ln w="190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noProof="0">
                <a:solidFill>
                  <a:schemeClr val="accent1"/>
                </a:solidFill>
              </a:endParaRPr>
            </a:p>
          </p:txBody>
        </p:sp>
        <p:sp>
          <p:nvSpPr>
            <p:cNvPr id="29" name="Freeform 33"/>
            <p:cNvSpPr/>
            <p:nvPr userDrawn="1"/>
          </p:nvSpPr>
          <p:spPr>
            <a:xfrm>
              <a:off x="8502102" y="201462"/>
              <a:ext cx="135419" cy="149888"/>
            </a:xfrm>
            <a:custGeom>
              <a:avLst/>
              <a:gdLst>
                <a:gd name="connsiteX0" fmla="*/ 0 w 483394"/>
                <a:gd name="connsiteY0" fmla="*/ 0 h 645319"/>
                <a:gd name="connsiteX1" fmla="*/ 0 w 483394"/>
                <a:gd name="connsiteY1" fmla="*/ 528638 h 645319"/>
                <a:gd name="connsiteX2" fmla="*/ 33338 w 483394"/>
                <a:gd name="connsiteY2" fmla="*/ 528638 h 645319"/>
                <a:gd name="connsiteX3" fmla="*/ 381000 w 483394"/>
                <a:gd name="connsiteY3" fmla="*/ 645319 h 645319"/>
                <a:gd name="connsiteX4" fmla="*/ 483394 w 483394"/>
                <a:gd name="connsiteY4" fmla="*/ 216694 h 645319"/>
                <a:gd name="connsiteX5" fmla="*/ 0 w 483394"/>
                <a:gd name="connsiteY5" fmla="*/ 0 h 645319"/>
                <a:gd name="connsiteX0" fmla="*/ 0 w 1626394"/>
                <a:gd name="connsiteY0" fmla="*/ 0 h 528638"/>
                <a:gd name="connsiteX1" fmla="*/ 0 w 1626394"/>
                <a:gd name="connsiteY1" fmla="*/ 528638 h 528638"/>
                <a:gd name="connsiteX2" fmla="*/ 33338 w 1626394"/>
                <a:gd name="connsiteY2" fmla="*/ 528638 h 528638"/>
                <a:gd name="connsiteX3" fmla="*/ 1626394 w 1626394"/>
                <a:gd name="connsiteY3" fmla="*/ 7144 h 528638"/>
                <a:gd name="connsiteX4" fmla="*/ 483394 w 1626394"/>
                <a:gd name="connsiteY4" fmla="*/ 216694 h 528638"/>
                <a:gd name="connsiteX5" fmla="*/ 0 w 1626394"/>
                <a:gd name="connsiteY5" fmla="*/ 0 h 528638"/>
                <a:gd name="connsiteX0" fmla="*/ 0 w 1626394"/>
                <a:gd name="connsiteY0" fmla="*/ 0 h 528638"/>
                <a:gd name="connsiteX1" fmla="*/ 0 w 1626394"/>
                <a:gd name="connsiteY1" fmla="*/ 528638 h 528638"/>
                <a:gd name="connsiteX2" fmla="*/ 33338 w 1626394"/>
                <a:gd name="connsiteY2" fmla="*/ 528638 h 528638"/>
                <a:gd name="connsiteX3" fmla="*/ 1626394 w 1626394"/>
                <a:gd name="connsiteY3" fmla="*/ 7144 h 528638"/>
                <a:gd name="connsiteX4" fmla="*/ 483394 w 1626394"/>
                <a:gd name="connsiteY4" fmla="*/ 216694 h 528638"/>
                <a:gd name="connsiteX5" fmla="*/ 0 w 1626394"/>
                <a:gd name="connsiteY5" fmla="*/ 0 h 528638"/>
                <a:gd name="connsiteX0" fmla="*/ 0 w 1626394"/>
                <a:gd name="connsiteY0" fmla="*/ 0 h 714375"/>
                <a:gd name="connsiteX1" fmla="*/ 0 w 1626394"/>
                <a:gd name="connsiteY1" fmla="*/ 528638 h 714375"/>
                <a:gd name="connsiteX2" fmla="*/ 354807 w 1626394"/>
                <a:gd name="connsiteY2" fmla="*/ 714375 h 714375"/>
                <a:gd name="connsiteX3" fmla="*/ 1626394 w 1626394"/>
                <a:gd name="connsiteY3" fmla="*/ 7144 h 714375"/>
                <a:gd name="connsiteX4" fmla="*/ 483394 w 1626394"/>
                <a:gd name="connsiteY4" fmla="*/ 216694 h 714375"/>
                <a:gd name="connsiteX5" fmla="*/ 0 w 1626394"/>
                <a:gd name="connsiteY5" fmla="*/ 0 h 714375"/>
                <a:gd name="connsiteX0" fmla="*/ 0 w 1626394"/>
                <a:gd name="connsiteY0" fmla="*/ 0 h 528638"/>
                <a:gd name="connsiteX1" fmla="*/ 0 w 1626394"/>
                <a:gd name="connsiteY1" fmla="*/ 528638 h 528638"/>
                <a:gd name="connsiteX2" fmla="*/ 1626394 w 1626394"/>
                <a:gd name="connsiteY2" fmla="*/ 7144 h 528638"/>
                <a:gd name="connsiteX3" fmla="*/ 483394 w 1626394"/>
                <a:gd name="connsiteY3" fmla="*/ 216694 h 528638"/>
                <a:gd name="connsiteX4" fmla="*/ 0 w 1626394"/>
                <a:gd name="connsiteY4" fmla="*/ 0 h 528638"/>
                <a:gd name="connsiteX0" fmla="*/ 0 w 1626394"/>
                <a:gd name="connsiteY0" fmla="*/ 0 h 528638"/>
                <a:gd name="connsiteX1" fmla="*/ 0 w 1626394"/>
                <a:gd name="connsiteY1" fmla="*/ 528638 h 528638"/>
                <a:gd name="connsiteX2" fmla="*/ 1626394 w 1626394"/>
                <a:gd name="connsiteY2" fmla="*/ 7144 h 528638"/>
                <a:gd name="connsiteX3" fmla="*/ 483394 w 1626394"/>
                <a:gd name="connsiteY3" fmla="*/ 216694 h 528638"/>
                <a:gd name="connsiteX4" fmla="*/ 0 w 1626394"/>
                <a:gd name="connsiteY4" fmla="*/ 0 h 528638"/>
                <a:gd name="connsiteX0" fmla="*/ 0 w 1626394"/>
                <a:gd name="connsiteY0" fmla="*/ 0 h 681404"/>
                <a:gd name="connsiteX1" fmla="*/ 0 w 1626394"/>
                <a:gd name="connsiteY1" fmla="*/ 528638 h 681404"/>
                <a:gd name="connsiteX2" fmla="*/ 1626394 w 1626394"/>
                <a:gd name="connsiteY2" fmla="*/ 7144 h 681404"/>
                <a:gd name="connsiteX3" fmla="*/ 483394 w 1626394"/>
                <a:gd name="connsiteY3" fmla="*/ 216694 h 681404"/>
                <a:gd name="connsiteX4" fmla="*/ 0 w 1626394"/>
                <a:gd name="connsiteY4" fmla="*/ 0 h 681404"/>
                <a:gd name="connsiteX0" fmla="*/ 0 w 1626394"/>
                <a:gd name="connsiteY0" fmla="*/ 0 h 661055"/>
                <a:gd name="connsiteX1" fmla="*/ 0 w 1626394"/>
                <a:gd name="connsiteY1" fmla="*/ 528638 h 661055"/>
                <a:gd name="connsiteX2" fmla="*/ 1626394 w 1626394"/>
                <a:gd name="connsiteY2" fmla="*/ 7144 h 661055"/>
                <a:gd name="connsiteX3" fmla="*/ 483394 w 1626394"/>
                <a:gd name="connsiteY3" fmla="*/ 216694 h 661055"/>
                <a:gd name="connsiteX4" fmla="*/ 0 w 1626394"/>
                <a:gd name="connsiteY4" fmla="*/ 0 h 661055"/>
                <a:gd name="connsiteX0" fmla="*/ 0 w 1626394"/>
                <a:gd name="connsiteY0" fmla="*/ 0 h 678971"/>
                <a:gd name="connsiteX1" fmla="*/ 0 w 1626394"/>
                <a:gd name="connsiteY1" fmla="*/ 528638 h 678971"/>
                <a:gd name="connsiteX2" fmla="*/ 1626394 w 1626394"/>
                <a:gd name="connsiteY2" fmla="*/ 7144 h 678971"/>
                <a:gd name="connsiteX3" fmla="*/ 483394 w 1626394"/>
                <a:gd name="connsiteY3" fmla="*/ 216694 h 678971"/>
                <a:gd name="connsiteX4" fmla="*/ 0 w 1626394"/>
                <a:gd name="connsiteY4" fmla="*/ 0 h 678971"/>
                <a:gd name="connsiteX0" fmla="*/ 0 w 1626394"/>
                <a:gd name="connsiteY0" fmla="*/ 0 h 678971"/>
                <a:gd name="connsiteX1" fmla="*/ 0 w 1626394"/>
                <a:gd name="connsiteY1" fmla="*/ 528638 h 678971"/>
                <a:gd name="connsiteX2" fmla="*/ 1626394 w 1626394"/>
                <a:gd name="connsiteY2" fmla="*/ 7144 h 678971"/>
                <a:gd name="connsiteX3" fmla="*/ 621506 w 1626394"/>
                <a:gd name="connsiteY3" fmla="*/ 233363 h 678971"/>
                <a:gd name="connsiteX4" fmla="*/ 0 w 1626394"/>
                <a:gd name="connsiteY4" fmla="*/ 0 h 678971"/>
                <a:gd name="connsiteX0" fmla="*/ 0 w 1626394"/>
                <a:gd name="connsiteY0" fmla="*/ 4860 h 683831"/>
                <a:gd name="connsiteX1" fmla="*/ 0 w 1626394"/>
                <a:gd name="connsiteY1" fmla="*/ 533498 h 683831"/>
                <a:gd name="connsiteX2" fmla="*/ 1626394 w 1626394"/>
                <a:gd name="connsiteY2" fmla="*/ 12004 h 683831"/>
                <a:gd name="connsiteX3" fmla="*/ 621506 w 1626394"/>
                <a:gd name="connsiteY3" fmla="*/ 238223 h 683831"/>
                <a:gd name="connsiteX4" fmla="*/ 0 w 1626394"/>
                <a:gd name="connsiteY4" fmla="*/ 4860 h 683831"/>
                <a:gd name="connsiteX0" fmla="*/ 0 w 1626394"/>
                <a:gd name="connsiteY0" fmla="*/ 4860 h 683831"/>
                <a:gd name="connsiteX1" fmla="*/ 0 w 1626394"/>
                <a:gd name="connsiteY1" fmla="*/ 533498 h 683831"/>
                <a:gd name="connsiteX2" fmla="*/ 1626394 w 1626394"/>
                <a:gd name="connsiteY2" fmla="*/ 12004 h 683831"/>
                <a:gd name="connsiteX3" fmla="*/ 1066800 w 1626394"/>
                <a:gd name="connsiteY3" fmla="*/ 135830 h 683831"/>
                <a:gd name="connsiteX4" fmla="*/ 621506 w 1626394"/>
                <a:gd name="connsiteY4" fmla="*/ 238223 h 683831"/>
                <a:gd name="connsiteX5" fmla="*/ 0 w 1626394"/>
                <a:gd name="connsiteY5" fmla="*/ 4860 h 683831"/>
                <a:gd name="connsiteX0" fmla="*/ 0 w 1626394"/>
                <a:gd name="connsiteY0" fmla="*/ 111917 h 790888"/>
                <a:gd name="connsiteX1" fmla="*/ 0 w 1626394"/>
                <a:gd name="connsiteY1" fmla="*/ 640555 h 790888"/>
                <a:gd name="connsiteX2" fmla="*/ 1626394 w 1626394"/>
                <a:gd name="connsiteY2" fmla="*/ 119061 h 790888"/>
                <a:gd name="connsiteX3" fmla="*/ 923925 w 1626394"/>
                <a:gd name="connsiteY3" fmla="*/ 0 h 790888"/>
                <a:gd name="connsiteX4" fmla="*/ 621506 w 1626394"/>
                <a:gd name="connsiteY4" fmla="*/ 345280 h 790888"/>
                <a:gd name="connsiteX5" fmla="*/ 0 w 1626394"/>
                <a:gd name="connsiteY5" fmla="*/ 111917 h 790888"/>
                <a:gd name="connsiteX0" fmla="*/ 0 w 1626394"/>
                <a:gd name="connsiteY0" fmla="*/ 111917 h 790888"/>
                <a:gd name="connsiteX1" fmla="*/ 0 w 1626394"/>
                <a:gd name="connsiteY1" fmla="*/ 640555 h 790888"/>
                <a:gd name="connsiteX2" fmla="*/ 1626394 w 1626394"/>
                <a:gd name="connsiteY2" fmla="*/ 119061 h 790888"/>
                <a:gd name="connsiteX3" fmla="*/ 1059656 w 1626394"/>
                <a:gd name="connsiteY3" fmla="*/ 23812 h 790888"/>
                <a:gd name="connsiteX4" fmla="*/ 923925 w 1626394"/>
                <a:gd name="connsiteY4" fmla="*/ 0 h 790888"/>
                <a:gd name="connsiteX5" fmla="*/ 621506 w 1626394"/>
                <a:gd name="connsiteY5" fmla="*/ 345280 h 790888"/>
                <a:gd name="connsiteX6" fmla="*/ 0 w 1626394"/>
                <a:gd name="connsiteY6" fmla="*/ 111917 h 790888"/>
                <a:gd name="connsiteX0" fmla="*/ 0 w 1626394"/>
                <a:gd name="connsiteY0" fmla="*/ 538161 h 1217132"/>
                <a:gd name="connsiteX1" fmla="*/ 0 w 1626394"/>
                <a:gd name="connsiteY1" fmla="*/ 1066799 h 1217132"/>
                <a:gd name="connsiteX2" fmla="*/ 1626394 w 1626394"/>
                <a:gd name="connsiteY2" fmla="*/ 545305 h 1217132"/>
                <a:gd name="connsiteX3" fmla="*/ 1323974 w 1626394"/>
                <a:gd name="connsiteY3" fmla="*/ 0 h 1217132"/>
                <a:gd name="connsiteX4" fmla="*/ 923925 w 1626394"/>
                <a:gd name="connsiteY4" fmla="*/ 426244 h 1217132"/>
                <a:gd name="connsiteX5" fmla="*/ 621506 w 1626394"/>
                <a:gd name="connsiteY5" fmla="*/ 771524 h 1217132"/>
                <a:gd name="connsiteX6" fmla="*/ 0 w 1626394"/>
                <a:gd name="connsiteY6" fmla="*/ 538161 h 1217132"/>
                <a:gd name="connsiteX0" fmla="*/ 0 w 1626394"/>
                <a:gd name="connsiteY0" fmla="*/ 538161 h 1217132"/>
                <a:gd name="connsiteX1" fmla="*/ 0 w 1626394"/>
                <a:gd name="connsiteY1" fmla="*/ 1066799 h 1217132"/>
                <a:gd name="connsiteX2" fmla="*/ 1626394 w 1626394"/>
                <a:gd name="connsiteY2" fmla="*/ 545305 h 1217132"/>
                <a:gd name="connsiteX3" fmla="*/ 1323974 w 1626394"/>
                <a:gd name="connsiteY3" fmla="*/ 0 h 1217132"/>
                <a:gd name="connsiteX4" fmla="*/ 923925 w 1626394"/>
                <a:gd name="connsiteY4" fmla="*/ 426244 h 1217132"/>
                <a:gd name="connsiteX5" fmla="*/ 621506 w 1626394"/>
                <a:gd name="connsiteY5" fmla="*/ 771524 h 1217132"/>
                <a:gd name="connsiteX6" fmla="*/ 0 w 1626394"/>
                <a:gd name="connsiteY6" fmla="*/ 538161 h 1217132"/>
                <a:gd name="connsiteX0" fmla="*/ 0 w 1635310"/>
                <a:gd name="connsiteY0" fmla="*/ 538161 h 1066802"/>
                <a:gd name="connsiteX1" fmla="*/ 0 w 1635310"/>
                <a:gd name="connsiteY1" fmla="*/ 1066799 h 1066802"/>
                <a:gd name="connsiteX2" fmla="*/ 1626394 w 1635310"/>
                <a:gd name="connsiteY2" fmla="*/ 545305 h 1066802"/>
                <a:gd name="connsiteX3" fmla="*/ 1323974 w 1635310"/>
                <a:gd name="connsiteY3" fmla="*/ 0 h 1066802"/>
                <a:gd name="connsiteX4" fmla="*/ 923925 w 1635310"/>
                <a:gd name="connsiteY4" fmla="*/ 426244 h 1066802"/>
                <a:gd name="connsiteX5" fmla="*/ 621506 w 1635310"/>
                <a:gd name="connsiteY5" fmla="*/ 771524 h 1066802"/>
                <a:gd name="connsiteX6" fmla="*/ 0 w 1635310"/>
                <a:gd name="connsiteY6" fmla="*/ 538161 h 1066802"/>
                <a:gd name="connsiteX0" fmla="*/ 0 w 1632620"/>
                <a:gd name="connsiteY0" fmla="*/ 538161 h 1083110"/>
                <a:gd name="connsiteX1" fmla="*/ 0 w 1632620"/>
                <a:gd name="connsiteY1" fmla="*/ 1066799 h 1083110"/>
                <a:gd name="connsiteX2" fmla="*/ 1626394 w 1632620"/>
                <a:gd name="connsiteY2" fmla="*/ 545305 h 1083110"/>
                <a:gd name="connsiteX3" fmla="*/ 1323974 w 1632620"/>
                <a:gd name="connsiteY3" fmla="*/ 0 h 1083110"/>
                <a:gd name="connsiteX4" fmla="*/ 923925 w 1632620"/>
                <a:gd name="connsiteY4" fmla="*/ 426244 h 1083110"/>
                <a:gd name="connsiteX5" fmla="*/ 621506 w 1632620"/>
                <a:gd name="connsiteY5" fmla="*/ 771524 h 1083110"/>
                <a:gd name="connsiteX6" fmla="*/ 0 w 1632620"/>
                <a:gd name="connsiteY6" fmla="*/ 538161 h 1083110"/>
                <a:gd name="connsiteX0" fmla="*/ 0 w 1638832"/>
                <a:gd name="connsiteY0" fmla="*/ 538161 h 1079262"/>
                <a:gd name="connsiteX1" fmla="*/ 0 w 1638832"/>
                <a:gd name="connsiteY1" fmla="*/ 1066799 h 1079262"/>
                <a:gd name="connsiteX2" fmla="*/ 1626394 w 1638832"/>
                <a:gd name="connsiteY2" fmla="*/ 545305 h 1079262"/>
                <a:gd name="connsiteX3" fmla="*/ 1323974 w 1638832"/>
                <a:gd name="connsiteY3" fmla="*/ 0 h 1079262"/>
                <a:gd name="connsiteX4" fmla="*/ 923925 w 1638832"/>
                <a:gd name="connsiteY4" fmla="*/ 426244 h 1079262"/>
                <a:gd name="connsiteX5" fmla="*/ 621506 w 1638832"/>
                <a:gd name="connsiteY5" fmla="*/ 771524 h 1079262"/>
                <a:gd name="connsiteX6" fmla="*/ 0 w 1638832"/>
                <a:gd name="connsiteY6" fmla="*/ 538161 h 1079262"/>
                <a:gd name="connsiteX0" fmla="*/ 0 w 1629379"/>
                <a:gd name="connsiteY0" fmla="*/ 538161 h 1066897"/>
                <a:gd name="connsiteX1" fmla="*/ 0 w 1629379"/>
                <a:gd name="connsiteY1" fmla="*/ 1066799 h 1066897"/>
                <a:gd name="connsiteX2" fmla="*/ 1616869 w 1629379"/>
                <a:gd name="connsiteY2" fmla="*/ 409574 h 1066897"/>
                <a:gd name="connsiteX3" fmla="*/ 1323974 w 1629379"/>
                <a:gd name="connsiteY3" fmla="*/ 0 h 1066897"/>
                <a:gd name="connsiteX4" fmla="*/ 923925 w 1629379"/>
                <a:gd name="connsiteY4" fmla="*/ 426244 h 1066897"/>
                <a:gd name="connsiteX5" fmla="*/ 621506 w 1629379"/>
                <a:gd name="connsiteY5" fmla="*/ 771524 h 1066897"/>
                <a:gd name="connsiteX6" fmla="*/ 0 w 1629379"/>
                <a:gd name="connsiteY6" fmla="*/ 538161 h 1066897"/>
                <a:gd name="connsiteX0" fmla="*/ 0 w 1620913"/>
                <a:gd name="connsiteY0" fmla="*/ 538161 h 1107877"/>
                <a:gd name="connsiteX1" fmla="*/ 0 w 1620913"/>
                <a:gd name="connsiteY1" fmla="*/ 1066799 h 1107877"/>
                <a:gd name="connsiteX2" fmla="*/ 1616869 w 1620913"/>
                <a:gd name="connsiteY2" fmla="*/ 409574 h 1107877"/>
                <a:gd name="connsiteX3" fmla="*/ 1323974 w 1620913"/>
                <a:gd name="connsiteY3" fmla="*/ 0 h 1107877"/>
                <a:gd name="connsiteX4" fmla="*/ 923925 w 1620913"/>
                <a:gd name="connsiteY4" fmla="*/ 426244 h 1107877"/>
                <a:gd name="connsiteX5" fmla="*/ 621506 w 1620913"/>
                <a:gd name="connsiteY5" fmla="*/ 771524 h 1107877"/>
                <a:gd name="connsiteX6" fmla="*/ 0 w 1620913"/>
                <a:gd name="connsiteY6" fmla="*/ 538161 h 1107877"/>
                <a:gd name="connsiteX0" fmla="*/ 0 w 1620913"/>
                <a:gd name="connsiteY0" fmla="*/ 538161 h 1218265"/>
                <a:gd name="connsiteX1" fmla="*/ 0 w 1620913"/>
                <a:gd name="connsiteY1" fmla="*/ 1066799 h 1218265"/>
                <a:gd name="connsiteX2" fmla="*/ 1616869 w 1620913"/>
                <a:gd name="connsiteY2" fmla="*/ 409574 h 1218265"/>
                <a:gd name="connsiteX3" fmla="*/ 1323974 w 1620913"/>
                <a:gd name="connsiteY3" fmla="*/ 0 h 1218265"/>
                <a:gd name="connsiteX4" fmla="*/ 923925 w 1620913"/>
                <a:gd name="connsiteY4" fmla="*/ 426244 h 1218265"/>
                <a:gd name="connsiteX5" fmla="*/ 621506 w 1620913"/>
                <a:gd name="connsiteY5" fmla="*/ 771524 h 1218265"/>
                <a:gd name="connsiteX6" fmla="*/ 0 w 1620913"/>
                <a:gd name="connsiteY6" fmla="*/ 538161 h 1218265"/>
                <a:gd name="connsiteX0" fmla="*/ 0 w 1620913"/>
                <a:gd name="connsiteY0" fmla="*/ 538161 h 1066799"/>
                <a:gd name="connsiteX1" fmla="*/ 0 w 1620913"/>
                <a:gd name="connsiteY1" fmla="*/ 1066799 h 1066799"/>
                <a:gd name="connsiteX2" fmla="*/ 1616869 w 1620913"/>
                <a:gd name="connsiteY2" fmla="*/ 409574 h 1066799"/>
                <a:gd name="connsiteX3" fmla="*/ 1323974 w 1620913"/>
                <a:gd name="connsiteY3" fmla="*/ 0 h 1066799"/>
                <a:gd name="connsiteX4" fmla="*/ 923925 w 1620913"/>
                <a:gd name="connsiteY4" fmla="*/ 426244 h 1066799"/>
                <a:gd name="connsiteX5" fmla="*/ 621506 w 1620913"/>
                <a:gd name="connsiteY5" fmla="*/ 771524 h 1066799"/>
                <a:gd name="connsiteX6" fmla="*/ 0 w 1620913"/>
                <a:gd name="connsiteY6" fmla="*/ 538161 h 1066799"/>
                <a:gd name="connsiteX0" fmla="*/ 0 w 1620913"/>
                <a:gd name="connsiteY0" fmla="*/ 538161 h 1213299"/>
                <a:gd name="connsiteX1" fmla="*/ 0 w 1620913"/>
                <a:gd name="connsiteY1" fmla="*/ 1066799 h 1213299"/>
                <a:gd name="connsiteX2" fmla="*/ 1616869 w 1620913"/>
                <a:gd name="connsiteY2" fmla="*/ 409574 h 1213299"/>
                <a:gd name="connsiteX3" fmla="*/ 1323974 w 1620913"/>
                <a:gd name="connsiteY3" fmla="*/ 0 h 1213299"/>
                <a:gd name="connsiteX4" fmla="*/ 923925 w 1620913"/>
                <a:gd name="connsiteY4" fmla="*/ 426244 h 1213299"/>
                <a:gd name="connsiteX5" fmla="*/ 621506 w 1620913"/>
                <a:gd name="connsiteY5" fmla="*/ 771524 h 1213299"/>
                <a:gd name="connsiteX6" fmla="*/ 0 w 1620913"/>
                <a:gd name="connsiteY6" fmla="*/ 538161 h 1213299"/>
                <a:gd name="connsiteX0" fmla="*/ 0 w 1628230"/>
                <a:gd name="connsiteY0" fmla="*/ 538161 h 1218919"/>
                <a:gd name="connsiteX1" fmla="*/ 0 w 1628230"/>
                <a:gd name="connsiteY1" fmla="*/ 1066799 h 1218919"/>
                <a:gd name="connsiteX2" fmla="*/ 1616869 w 1628230"/>
                <a:gd name="connsiteY2" fmla="*/ 409574 h 1218919"/>
                <a:gd name="connsiteX3" fmla="*/ 1323974 w 1628230"/>
                <a:gd name="connsiteY3" fmla="*/ 0 h 1218919"/>
                <a:gd name="connsiteX4" fmla="*/ 923925 w 1628230"/>
                <a:gd name="connsiteY4" fmla="*/ 426244 h 1218919"/>
                <a:gd name="connsiteX5" fmla="*/ 621506 w 1628230"/>
                <a:gd name="connsiteY5" fmla="*/ 771524 h 1218919"/>
                <a:gd name="connsiteX6" fmla="*/ 0 w 1628230"/>
                <a:gd name="connsiteY6" fmla="*/ 538161 h 1218919"/>
                <a:gd name="connsiteX0" fmla="*/ 0 w 1628230"/>
                <a:gd name="connsiteY0" fmla="*/ 538161 h 1218919"/>
                <a:gd name="connsiteX1" fmla="*/ 0 w 1628230"/>
                <a:gd name="connsiteY1" fmla="*/ 1066799 h 1218919"/>
                <a:gd name="connsiteX2" fmla="*/ 1616869 w 1628230"/>
                <a:gd name="connsiteY2" fmla="*/ 409574 h 1218919"/>
                <a:gd name="connsiteX3" fmla="*/ 1323974 w 1628230"/>
                <a:gd name="connsiteY3" fmla="*/ 0 h 1218919"/>
                <a:gd name="connsiteX4" fmla="*/ 923925 w 1628230"/>
                <a:gd name="connsiteY4" fmla="*/ 426244 h 1218919"/>
                <a:gd name="connsiteX5" fmla="*/ 621506 w 1628230"/>
                <a:gd name="connsiteY5" fmla="*/ 771524 h 1218919"/>
                <a:gd name="connsiteX6" fmla="*/ 0 w 1628230"/>
                <a:gd name="connsiteY6" fmla="*/ 538161 h 1218919"/>
                <a:gd name="connsiteX0" fmla="*/ 0 w 1628230"/>
                <a:gd name="connsiteY0" fmla="*/ 538161 h 1218919"/>
                <a:gd name="connsiteX1" fmla="*/ 0 w 1628230"/>
                <a:gd name="connsiteY1" fmla="*/ 1066799 h 1218919"/>
                <a:gd name="connsiteX2" fmla="*/ 1616869 w 1628230"/>
                <a:gd name="connsiteY2" fmla="*/ 409574 h 1218919"/>
                <a:gd name="connsiteX3" fmla="*/ 1323974 w 1628230"/>
                <a:gd name="connsiteY3" fmla="*/ 0 h 1218919"/>
                <a:gd name="connsiteX4" fmla="*/ 923925 w 1628230"/>
                <a:gd name="connsiteY4" fmla="*/ 426244 h 1218919"/>
                <a:gd name="connsiteX5" fmla="*/ 621506 w 1628230"/>
                <a:gd name="connsiteY5" fmla="*/ 771524 h 1218919"/>
                <a:gd name="connsiteX6" fmla="*/ 0 w 1628230"/>
                <a:gd name="connsiteY6" fmla="*/ 538161 h 1218919"/>
                <a:gd name="connsiteX0" fmla="*/ 0 w 1628230"/>
                <a:gd name="connsiteY0" fmla="*/ 538161 h 1218919"/>
                <a:gd name="connsiteX1" fmla="*/ 0 w 1628230"/>
                <a:gd name="connsiteY1" fmla="*/ 1066799 h 1218919"/>
                <a:gd name="connsiteX2" fmla="*/ 1616869 w 1628230"/>
                <a:gd name="connsiteY2" fmla="*/ 409574 h 1218919"/>
                <a:gd name="connsiteX3" fmla="*/ 1323974 w 1628230"/>
                <a:gd name="connsiteY3" fmla="*/ 0 h 1218919"/>
                <a:gd name="connsiteX4" fmla="*/ 923925 w 1628230"/>
                <a:gd name="connsiteY4" fmla="*/ 426244 h 1218919"/>
                <a:gd name="connsiteX5" fmla="*/ 621506 w 1628230"/>
                <a:gd name="connsiteY5" fmla="*/ 771524 h 1218919"/>
                <a:gd name="connsiteX6" fmla="*/ 0 w 1628230"/>
                <a:gd name="connsiteY6" fmla="*/ 538161 h 1218919"/>
                <a:gd name="connsiteX0" fmla="*/ 0 w 1628230"/>
                <a:gd name="connsiteY0" fmla="*/ 538161 h 1218919"/>
                <a:gd name="connsiteX1" fmla="*/ 0 w 1628230"/>
                <a:gd name="connsiteY1" fmla="*/ 1066799 h 1218919"/>
                <a:gd name="connsiteX2" fmla="*/ 1616869 w 1628230"/>
                <a:gd name="connsiteY2" fmla="*/ 409574 h 1218919"/>
                <a:gd name="connsiteX3" fmla="*/ 1323974 w 1628230"/>
                <a:gd name="connsiteY3" fmla="*/ 0 h 1218919"/>
                <a:gd name="connsiteX4" fmla="*/ 923925 w 1628230"/>
                <a:gd name="connsiteY4" fmla="*/ 426244 h 1218919"/>
                <a:gd name="connsiteX5" fmla="*/ 621506 w 1628230"/>
                <a:gd name="connsiteY5" fmla="*/ 771524 h 1218919"/>
                <a:gd name="connsiteX6" fmla="*/ 0 w 1628230"/>
                <a:gd name="connsiteY6" fmla="*/ 538161 h 1218919"/>
                <a:gd name="connsiteX0" fmla="*/ 0 w 1632881"/>
                <a:gd name="connsiteY0" fmla="*/ 538161 h 1232035"/>
                <a:gd name="connsiteX1" fmla="*/ 0 w 1632881"/>
                <a:gd name="connsiteY1" fmla="*/ 1066799 h 1232035"/>
                <a:gd name="connsiteX2" fmla="*/ 1621631 w 1632881"/>
                <a:gd name="connsiteY2" fmla="*/ 523874 h 1232035"/>
                <a:gd name="connsiteX3" fmla="*/ 1323974 w 1632881"/>
                <a:gd name="connsiteY3" fmla="*/ 0 h 1232035"/>
                <a:gd name="connsiteX4" fmla="*/ 923925 w 1632881"/>
                <a:gd name="connsiteY4" fmla="*/ 426244 h 1232035"/>
                <a:gd name="connsiteX5" fmla="*/ 621506 w 1632881"/>
                <a:gd name="connsiteY5" fmla="*/ 771524 h 1232035"/>
                <a:gd name="connsiteX6" fmla="*/ 0 w 1632881"/>
                <a:gd name="connsiteY6" fmla="*/ 538161 h 1232035"/>
                <a:gd name="connsiteX0" fmla="*/ 0 w 1622936"/>
                <a:gd name="connsiteY0" fmla="*/ 538161 h 1236750"/>
                <a:gd name="connsiteX1" fmla="*/ 0 w 1622936"/>
                <a:gd name="connsiteY1" fmla="*/ 1066799 h 1236750"/>
                <a:gd name="connsiteX2" fmla="*/ 1621631 w 1622936"/>
                <a:gd name="connsiteY2" fmla="*/ 523874 h 1236750"/>
                <a:gd name="connsiteX3" fmla="*/ 1323974 w 1622936"/>
                <a:gd name="connsiteY3" fmla="*/ 0 h 1236750"/>
                <a:gd name="connsiteX4" fmla="*/ 923925 w 1622936"/>
                <a:gd name="connsiteY4" fmla="*/ 426244 h 1236750"/>
                <a:gd name="connsiteX5" fmla="*/ 621506 w 1622936"/>
                <a:gd name="connsiteY5" fmla="*/ 771524 h 1236750"/>
                <a:gd name="connsiteX6" fmla="*/ 0 w 1622936"/>
                <a:gd name="connsiteY6" fmla="*/ 538161 h 1236750"/>
                <a:gd name="connsiteX0" fmla="*/ 0 w 1627932"/>
                <a:gd name="connsiteY0" fmla="*/ 538161 h 1227283"/>
                <a:gd name="connsiteX1" fmla="*/ 0 w 1627932"/>
                <a:gd name="connsiteY1" fmla="*/ 1066799 h 1227283"/>
                <a:gd name="connsiteX2" fmla="*/ 1621631 w 1627932"/>
                <a:gd name="connsiteY2" fmla="*/ 523874 h 1227283"/>
                <a:gd name="connsiteX3" fmla="*/ 1323974 w 1627932"/>
                <a:gd name="connsiteY3" fmla="*/ 0 h 1227283"/>
                <a:gd name="connsiteX4" fmla="*/ 923925 w 1627932"/>
                <a:gd name="connsiteY4" fmla="*/ 426244 h 1227283"/>
                <a:gd name="connsiteX5" fmla="*/ 621506 w 1627932"/>
                <a:gd name="connsiteY5" fmla="*/ 771524 h 1227283"/>
                <a:gd name="connsiteX6" fmla="*/ 0 w 1627932"/>
                <a:gd name="connsiteY6" fmla="*/ 538161 h 1227283"/>
                <a:gd name="connsiteX0" fmla="*/ 0 w 1627932"/>
                <a:gd name="connsiteY0" fmla="*/ 538161 h 1066799"/>
                <a:gd name="connsiteX1" fmla="*/ 0 w 1627932"/>
                <a:gd name="connsiteY1" fmla="*/ 1066799 h 1066799"/>
                <a:gd name="connsiteX2" fmla="*/ 1621631 w 1627932"/>
                <a:gd name="connsiteY2" fmla="*/ 523874 h 1066799"/>
                <a:gd name="connsiteX3" fmla="*/ 1323974 w 1627932"/>
                <a:gd name="connsiteY3" fmla="*/ 0 h 1066799"/>
                <a:gd name="connsiteX4" fmla="*/ 923925 w 1627932"/>
                <a:gd name="connsiteY4" fmla="*/ 426244 h 1066799"/>
                <a:gd name="connsiteX5" fmla="*/ 621506 w 1627932"/>
                <a:gd name="connsiteY5" fmla="*/ 771524 h 1066799"/>
                <a:gd name="connsiteX6" fmla="*/ 0 w 1627932"/>
                <a:gd name="connsiteY6" fmla="*/ 538161 h 1066799"/>
                <a:gd name="connsiteX0" fmla="*/ 0 w 1627647"/>
                <a:gd name="connsiteY0" fmla="*/ 538161 h 1066799"/>
                <a:gd name="connsiteX1" fmla="*/ 0 w 1627647"/>
                <a:gd name="connsiteY1" fmla="*/ 1066799 h 1066799"/>
                <a:gd name="connsiteX2" fmla="*/ 1621631 w 1627647"/>
                <a:gd name="connsiteY2" fmla="*/ 523874 h 1066799"/>
                <a:gd name="connsiteX3" fmla="*/ 1323974 w 1627647"/>
                <a:gd name="connsiteY3" fmla="*/ 0 h 1066799"/>
                <a:gd name="connsiteX4" fmla="*/ 923925 w 1627647"/>
                <a:gd name="connsiteY4" fmla="*/ 426244 h 1066799"/>
                <a:gd name="connsiteX5" fmla="*/ 621506 w 1627647"/>
                <a:gd name="connsiteY5" fmla="*/ 771524 h 1066799"/>
                <a:gd name="connsiteX6" fmla="*/ 0 w 1627647"/>
                <a:gd name="connsiteY6" fmla="*/ 538161 h 1066799"/>
                <a:gd name="connsiteX0" fmla="*/ 0 w 1627647"/>
                <a:gd name="connsiteY0" fmla="*/ 538161 h 1066799"/>
                <a:gd name="connsiteX1" fmla="*/ 0 w 1627647"/>
                <a:gd name="connsiteY1" fmla="*/ 1066799 h 1066799"/>
                <a:gd name="connsiteX2" fmla="*/ 1621631 w 1627647"/>
                <a:gd name="connsiteY2" fmla="*/ 523874 h 1066799"/>
                <a:gd name="connsiteX3" fmla="*/ 1323974 w 1627647"/>
                <a:gd name="connsiteY3" fmla="*/ 0 h 1066799"/>
                <a:gd name="connsiteX4" fmla="*/ 923925 w 1627647"/>
                <a:gd name="connsiteY4" fmla="*/ 426244 h 1066799"/>
                <a:gd name="connsiteX5" fmla="*/ 621506 w 1627647"/>
                <a:gd name="connsiteY5" fmla="*/ 771524 h 1066799"/>
                <a:gd name="connsiteX6" fmla="*/ 0 w 1627647"/>
                <a:gd name="connsiteY6" fmla="*/ 538161 h 1066799"/>
                <a:gd name="connsiteX0" fmla="*/ 0 w 1627647"/>
                <a:gd name="connsiteY0" fmla="*/ 538161 h 1134969"/>
                <a:gd name="connsiteX1" fmla="*/ 0 w 1627647"/>
                <a:gd name="connsiteY1" fmla="*/ 1066799 h 1134969"/>
                <a:gd name="connsiteX2" fmla="*/ 1621631 w 1627647"/>
                <a:gd name="connsiteY2" fmla="*/ 523874 h 1134969"/>
                <a:gd name="connsiteX3" fmla="*/ 1323974 w 1627647"/>
                <a:gd name="connsiteY3" fmla="*/ 0 h 1134969"/>
                <a:gd name="connsiteX4" fmla="*/ 923925 w 1627647"/>
                <a:gd name="connsiteY4" fmla="*/ 426244 h 1134969"/>
                <a:gd name="connsiteX5" fmla="*/ 621506 w 1627647"/>
                <a:gd name="connsiteY5" fmla="*/ 771524 h 1134969"/>
                <a:gd name="connsiteX6" fmla="*/ 0 w 1627647"/>
                <a:gd name="connsiteY6" fmla="*/ 538161 h 1134969"/>
                <a:gd name="connsiteX0" fmla="*/ 0 w 1627647"/>
                <a:gd name="connsiteY0" fmla="*/ 538161 h 1213483"/>
                <a:gd name="connsiteX1" fmla="*/ 0 w 1627647"/>
                <a:gd name="connsiteY1" fmla="*/ 1066799 h 1213483"/>
                <a:gd name="connsiteX2" fmla="*/ 1621631 w 1627647"/>
                <a:gd name="connsiteY2" fmla="*/ 523874 h 1213483"/>
                <a:gd name="connsiteX3" fmla="*/ 1323974 w 1627647"/>
                <a:gd name="connsiteY3" fmla="*/ 0 h 1213483"/>
                <a:gd name="connsiteX4" fmla="*/ 923925 w 1627647"/>
                <a:gd name="connsiteY4" fmla="*/ 426244 h 1213483"/>
                <a:gd name="connsiteX5" fmla="*/ 621506 w 1627647"/>
                <a:gd name="connsiteY5" fmla="*/ 771524 h 1213483"/>
                <a:gd name="connsiteX6" fmla="*/ 0 w 1627647"/>
                <a:gd name="connsiteY6" fmla="*/ 538161 h 1213483"/>
                <a:gd name="connsiteX0" fmla="*/ 0 w 1627647"/>
                <a:gd name="connsiteY0" fmla="*/ 538161 h 1190326"/>
                <a:gd name="connsiteX1" fmla="*/ 0 w 1627647"/>
                <a:gd name="connsiteY1" fmla="*/ 1066799 h 1190326"/>
                <a:gd name="connsiteX2" fmla="*/ 1621631 w 1627647"/>
                <a:gd name="connsiteY2" fmla="*/ 523874 h 1190326"/>
                <a:gd name="connsiteX3" fmla="*/ 1323974 w 1627647"/>
                <a:gd name="connsiteY3" fmla="*/ 0 h 1190326"/>
                <a:gd name="connsiteX4" fmla="*/ 923925 w 1627647"/>
                <a:gd name="connsiteY4" fmla="*/ 426244 h 1190326"/>
                <a:gd name="connsiteX5" fmla="*/ 621506 w 1627647"/>
                <a:gd name="connsiteY5" fmla="*/ 771524 h 1190326"/>
                <a:gd name="connsiteX6" fmla="*/ 0 w 1627647"/>
                <a:gd name="connsiteY6" fmla="*/ 538161 h 1190326"/>
                <a:gd name="connsiteX0" fmla="*/ 0 w 1627647"/>
                <a:gd name="connsiteY0" fmla="*/ 538161 h 1219698"/>
                <a:gd name="connsiteX1" fmla="*/ 0 w 1627647"/>
                <a:gd name="connsiteY1" fmla="*/ 1066799 h 1219698"/>
                <a:gd name="connsiteX2" fmla="*/ 1621631 w 1627647"/>
                <a:gd name="connsiteY2" fmla="*/ 523874 h 1219698"/>
                <a:gd name="connsiteX3" fmla="*/ 1323974 w 1627647"/>
                <a:gd name="connsiteY3" fmla="*/ 0 h 1219698"/>
                <a:gd name="connsiteX4" fmla="*/ 923925 w 1627647"/>
                <a:gd name="connsiteY4" fmla="*/ 426244 h 1219698"/>
                <a:gd name="connsiteX5" fmla="*/ 621506 w 1627647"/>
                <a:gd name="connsiteY5" fmla="*/ 771524 h 1219698"/>
                <a:gd name="connsiteX6" fmla="*/ 0 w 1627647"/>
                <a:gd name="connsiteY6" fmla="*/ 538161 h 1219698"/>
                <a:gd name="connsiteX0" fmla="*/ 0 w 1627647"/>
                <a:gd name="connsiteY0" fmla="*/ 538161 h 1232307"/>
                <a:gd name="connsiteX1" fmla="*/ 0 w 1627647"/>
                <a:gd name="connsiteY1" fmla="*/ 1066799 h 1232307"/>
                <a:gd name="connsiteX2" fmla="*/ 1621631 w 1627647"/>
                <a:gd name="connsiteY2" fmla="*/ 523874 h 1232307"/>
                <a:gd name="connsiteX3" fmla="*/ 1323974 w 1627647"/>
                <a:gd name="connsiteY3" fmla="*/ 0 h 1232307"/>
                <a:gd name="connsiteX4" fmla="*/ 923925 w 1627647"/>
                <a:gd name="connsiteY4" fmla="*/ 426244 h 1232307"/>
                <a:gd name="connsiteX5" fmla="*/ 621506 w 1627647"/>
                <a:gd name="connsiteY5" fmla="*/ 771524 h 1232307"/>
                <a:gd name="connsiteX6" fmla="*/ 0 w 1627647"/>
                <a:gd name="connsiteY6" fmla="*/ 538161 h 1232307"/>
                <a:gd name="connsiteX0" fmla="*/ 0 w 1627647"/>
                <a:gd name="connsiteY0" fmla="*/ 538161 h 1217230"/>
                <a:gd name="connsiteX1" fmla="*/ 0 w 1627647"/>
                <a:gd name="connsiteY1" fmla="*/ 1066799 h 1217230"/>
                <a:gd name="connsiteX2" fmla="*/ 1621631 w 1627647"/>
                <a:gd name="connsiteY2" fmla="*/ 523874 h 1217230"/>
                <a:gd name="connsiteX3" fmla="*/ 1323974 w 1627647"/>
                <a:gd name="connsiteY3" fmla="*/ 0 h 1217230"/>
                <a:gd name="connsiteX4" fmla="*/ 923925 w 1627647"/>
                <a:gd name="connsiteY4" fmla="*/ 426244 h 1217230"/>
                <a:gd name="connsiteX5" fmla="*/ 621506 w 1627647"/>
                <a:gd name="connsiteY5" fmla="*/ 771524 h 1217230"/>
                <a:gd name="connsiteX6" fmla="*/ 0 w 1627647"/>
                <a:gd name="connsiteY6" fmla="*/ 538161 h 1217230"/>
                <a:gd name="connsiteX0" fmla="*/ 0 w 1627647"/>
                <a:gd name="connsiteY0" fmla="*/ 538161 h 1188997"/>
                <a:gd name="connsiteX1" fmla="*/ 0 w 1627647"/>
                <a:gd name="connsiteY1" fmla="*/ 1066799 h 1188997"/>
                <a:gd name="connsiteX2" fmla="*/ 1621631 w 1627647"/>
                <a:gd name="connsiteY2" fmla="*/ 523874 h 1188997"/>
                <a:gd name="connsiteX3" fmla="*/ 1323974 w 1627647"/>
                <a:gd name="connsiteY3" fmla="*/ 0 h 1188997"/>
                <a:gd name="connsiteX4" fmla="*/ 923925 w 1627647"/>
                <a:gd name="connsiteY4" fmla="*/ 426244 h 1188997"/>
                <a:gd name="connsiteX5" fmla="*/ 621506 w 1627647"/>
                <a:gd name="connsiteY5" fmla="*/ 771524 h 1188997"/>
                <a:gd name="connsiteX6" fmla="*/ 0 w 1627647"/>
                <a:gd name="connsiteY6" fmla="*/ 538161 h 1188997"/>
                <a:gd name="connsiteX0" fmla="*/ 0 w 1627647"/>
                <a:gd name="connsiteY0" fmla="*/ 538161 h 1216261"/>
                <a:gd name="connsiteX1" fmla="*/ 0 w 1627647"/>
                <a:gd name="connsiteY1" fmla="*/ 1066799 h 1216261"/>
                <a:gd name="connsiteX2" fmla="*/ 1621631 w 1627647"/>
                <a:gd name="connsiteY2" fmla="*/ 523874 h 1216261"/>
                <a:gd name="connsiteX3" fmla="*/ 1323974 w 1627647"/>
                <a:gd name="connsiteY3" fmla="*/ 0 h 1216261"/>
                <a:gd name="connsiteX4" fmla="*/ 923925 w 1627647"/>
                <a:gd name="connsiteY4" fmla="*/ 426244 h 1216261"/>
                <a:gd name="connsiteX5" fmla="*/ 621506 w 1627647"/>
                <a:gd name="connsiteY5" fmla="*/ 771524 h 1216261"/>
                <a:gd name="connsiteX6" fmla="*/ 0 w 1627647"/>
                <a:gd name="connsiteY6" fmla="*/ 538161 h 1216261"/>
                <a:gd name="connsiteX0" fmla="*/ 0 w 1627647"/>
                <a:gd name="connsiteY0" fmla="*/ 538161 h 1206398"/>
                <a:gd name="connsiteX1" fmla="*/ 0 w 1627647"/>
                <a:gd name="connsiteY1" fmla="*/ 1066799 h 1206398"/>
                <a:gd name="connsiteX2" fmla="*/ 1621631 w 1627647"/>
                <a:gd name="connsiteY2" fmla="*/ 523874 h 1206398"/>
                <a:gd name="connsiteX3" fmla="*/ 1323974 w 1627647"/>
                <a:gd name="connsiteY3" fmla="*/ 0 h 1206398"/>
                <a:gd name="connsiteX4" fmla="*/ 923925 w 1627647"/>
                <a:gd name="connsiteY4" fmla="*/ 426244 h 1206398"/>
                <a:gd name="connsiteX5" fmla="*/ 621506 w 1627647"/>
                <a:gd name="connsiteY5" fmla="*/ 771524 h 1206398"/>
                <a:gd name="connsiteX6" fmla="*/ 0 w 1627647"/>
                <a:gd name="connsiteY6" fmla="*/ 538161 h 1206398"/>
                <a:gd name="connsiteX0" fmla="*/ 0 w 1627647"/>
                <a:gd name="connsiteY0" fmla="*/ 538161 h 1218880"/>
                <a:gd name="connsiteX1" fmla="*/ 0 w 1627647"/>
                <a:gd name="connsiteY1" fmla="*/ 1066799 h 1218880"/>
                <a:gd name="connsiteX2" fmla="*/ 1621631 w 1627647"/>
                <a:gd name="connsiteY2" fmla="*/ 523874 h 1218880"/>
                <a:gd name="connsiteX3" fmla="*/ 1323974 w 1627647"/>
                <a:gd name="connsiteY3" fmla="*/ 0 h 1218880"/>
                <a:gd name="connsiteX4" fmla="*/ 923925 w 1627647"/>
                <a:gd name="connsiteY4" fmla="*/ 426244 h 1218880"/>
                <a:gd name="connsiteX5" fmla="*/ 621506 w 1627647"/>
                <a:gd name="connsiteY5" fmla="*/ 771524 h 1218880"/>
                <a:gd name="connsiteX6" fmla="*/ 0 w 1627647"/>
                <a:gd name="connsiteY6" fmla="*/ 538161 h 1218880"/>
                <a:gd name="connsiteX0" fmla="*/ 0 w 1627647"/>
                <a:gd name="connsiteY0" fmla="*/ 538161 h 1211596"/>
                <a:gd name="connsiteX1" fmla="*/ 0 w 1627647"/>
                <a:gd name="connsiteY1" fmla="*/ 1066799 h 1211596"/>
                <a:gd name="connsiteX2" fmla="*/ 1621631 w 1627647"/>
                <a:gd name="connsiteY2" fmla="*/ 523874 h 1211596"/>
                <a:gd name="connsiteX3" fmla="*/ 1323974 w 1627647"/>
                <a:gd name="connsiteY3" fmla="*/ 0 h 1211596"/>
                <a:gd name="connsiteX4" fmla="*/ 923925 w 1627647"/>
                <a:gd name="connsiteY4" fmla="*/ 426244 h 1211596"/>
                <a:gd name="connsiteX5" fmla="*/ 621506 w 1627647"/>
                <a:gd name="connsiteY5" fmla="*/ 771524 h 1211596"/>
                <a:gd name="connsiteX6" fmla="*/ 0 w 1627647"/>
                <a:gd name="connsiteY6" fmla="*/ 538161 h 1211596"/>
                <a:gd name="connsiteX0" fmla="*/ 0 w 1627647"/>
                <a:gd name="connsiteY0" fmla="*/ 538161 h 1217962"/>
                <a:gd name="connsiteX1" fmla="*/ 0 w 1627647"/>
                <a:gd name="connsiteY1" fmla="*/ 1066799 h 1217962"/>
                <a:gd name="connsiteX2" fmla="*/ 1621631 w 1627647"/>
                <a:gd name="connsiteY2" fmla="*/ 523874 h 1217962"/>
                <a:gd name="connsiteX3" fmla="*/ 1323974 w 1627647"/>
                <a:gd name="connsiteY3" fmla="*/ 0 h 1217962"/>
                <a:gd name="connsiteX4" fmla="*/ 923925 w 1627647"/>
                <a:gd name="connsiteY4" fmla="*/ 426244 h 1217962"/>
                <a:gd name="connsiteX5" fmla="*/ 621506 w 1627647"/>
                <a:gd name="connsiteY5" fmla="*/ 771524 h 1217962"/>
                <a:gd name="connsiteX6" fmla="*/ 0 w 1627647"/>
                <a:gd name="connsiteY6" fmla="*/ 538161 h 1217962"/>
                <a:gd name="connsiteX0" fmla="*/ 0 w 1627647"/>
                <a:gd name="connsiteY0" fmla="*/ 538161 h 1218399"/>
                <a:gd name="connsiteX1" fmla="*/ 0 w 1627647"/>
                <a:gd name="connsiteY1" fmla="*/ 1066799 h 1218399"/>
                <a:gd name="connsiteX2" fmla="*/ 1621631 w 1627647"/>
                <a:gd name="connsiteY2" fmla="*/ 523874 h 1218399"/>
                <a:gd name="connsiteX3" fmla="*/ 1323974 w 1627647"/>
                <a:gd name="connsiteY3" fmla="*/ 0 h 1218399"/>
                <a:gd name="connsiteX4" fmla="*/ 923925 w 1627647"/>
                <a:gd name="connsiteY4" fmla="*/ 426244 h 1218399"/>
                <a:gd name="connsiteX5" fmla="*/ 621506 w 1627647"/>
                <a:gd name="connsiteY5" fmla="*/ 771524 h 1218399"/>
                <a:gd name="connsiteX6" fmla="*/ 0 w 1627647"/>
                <a:gd name="connsiteY6" fmla="*/ 538161 h 1218399"/>
                <a:gd name="connsiteX0" fmla="*/ 0 w 1627647"/>
                <a:gd name="connsiteY0" fmla="*/ 538161 h 1212839"/>
                <a:gd name="connsiteX1" fmla="*/ 0 w 1627647"/>
                <a:gd name="connsiteY1" fmla="*/ 1066799 h 1212839"/>
                <a:gd name="connsiteX2" fmla="*/ 1621631 w 1627647"/>
                <a:gd name="connsiteY2" fmla="*/ 523874 h 1212839"/>
                <a:gd name="connsiteX3" fmla="*/ 1323974 w 1627647"/>
                <a:gd name="connsiteY3" fmla="*/ 0 h 1212839"/>
                <a:gd name="connsiteX4" fmla="*/ 923925 w 1627647"/>
                <a:gd name="connsiteY4" fmla="*/ 426244 h 1212839"/>
                <a:gd name="connsiteX5" fmla="*/ 621506 w 1627647"/>
                <a:gd name="connsiteY5" fmla="*/ 771524 h 1212839"/>
                <a:gd name="connsiteX6" fmla="*/ 0 w 1627647"/>
                <a:gd name="connsiteY6" fmla="*/ 538161 h 1212839"/>
                <a:gd name="connsiteX0" fmla="*/ 0 w 1627647"/>
                <a:gd name="connsiteY0" fmla="*/ 538161 h 1212839"/>
                <a:gd name="connsiteX1" fmla="*/ 0 w 1627647"/>
                <a:gd name="connsiteY1" fmla="*/ 1066799 h 1212839"/>
                <a:gd name="connsiteX2" fmla="*/ 1621631 w 1627647"/>
                <a:gd name="connsiteY2" fmla="*/ 523874 h 1212839"/>
                <a:gd name="connsiteX3" fmla="*/ 1323974 w 1627647"/>
                <a:gd name="connsiteY3" fmla="*/ 0 h 1212839"/>
                <a:gd name="connsiteX4" fmla="*/ 1078707 w 1627647"/>
                <a:gd name="connsiteY4" fmla="*/ 257177 h 1212839"/>
                <a:gd name="connsiteX5" fmla="*/ 923925 w 1627647"/>
                <a:gd name="connsiteY5" fmla="*/ 426244 h 1212839"/>
                <a:gd name="connsiteX6" fmla="*/ 621506 w 1627647"/>
                <a:gd name="connsiteY6" fmla="*/ 771524 h 1212839"/>
                <a:gd name="connsiteX7" fmla="*/ 0 w 1627647"/>
                <a:gd name="connsiteY7" fmla="*/ 538161 h 1212839"/>
                <a:gd name="connsiteX0" fmla="*/ 0 w 1627647"/>
                <a:gd name="connsiteY0" fmla="*/ 538161 h 1212839"/>
                <a:gd name="connsiteX1" fmla="*/ 0 w 1627647"/>
                <a:gd name="connsiteY1" fmla="*/ 1066799 h 1212839"/>
                <a:gd name="connsiteX2" fmla="*/ 1621631 w 1627647"/>
                <a:gd name="connsiteY2" fmla="*/ 523874 h 1212839"/>
                <a:gd name="connsiteX3" fmla="*/ 1323974 w 1627647"/>
                <a:gd name="connsiteY3" fmla="*/ 0 h 1212839"/>
                <a:gd name="connsiteX4" fmla="*/ 595313 w 1627647"/>
                <a:gd name="connsiteY4" fmla="*/ 185739 h 1212839"/>
                <a:gd name="connsiteX5" fmla="*/ 923925 w 1627647"/>
                <a:gd name="connsiteY5" fmla="*/ 426244 h 1212839"/>
                <a:gd name="connsiteX6" fmla="*/ 621506 w 1627647"/>
                <a:gd name="connsiteY6" fmla="*/ 771524 h 1212839"/>
                <a:gd name="connsiteX7" fmla="*/ 0 w 1627647"/>
                <a:gd name="connsiteY7" fmla="*/ 538161 h 1212839"/>
                <a:gd name="connsiteX0" fmla="*/ 0 w 1627647"/>
                <a:gd name="connsiteY0" fmla="*/ 538161 h 1212839"/>
                <a:gd name="connsiteX1" fmla="*/ 0 w 1627647"/>
                <a:gd name="connsiteY1" fmla="*/ 1066799 h 1212839"/>
                <a:gd name="connsiteX2" fmla="*/ 1621631 w 1627647"/>
                <a:gd name="connsiteY2" fmla="*/ 523874 h 1212839"/>
                <a:gd name="connsiteX3" fmla="*/ 1323974 w 1627647"/>
                <a:gd name="connsiteY3" fmla="*/ 0 h 1212839"/>
                <a:gd name="connsiteX4" fmla="*/ 973932 w 1627647"/>
                <a:gd name="connsiteY4" fmla="*/ 85727 h 1212839"/>
                <a:gd name="connsiteX5" fmla="*/ 595313 w 1627647"/>
                <a:gd name="connsiteY5" fmla="*/ 185739 h 1212839"/>
                <a:gd name="connsiteX6" fmla="*/ 923925 w 1627647"/>
                <a:gd name="connsiteY6" fmla="*/ 426244 h 1212839"/>
                <a:gd name="connsiteX7" fmla="*/ 621506 w 1627647"/>
                <a:gd name="connsiteY7" fmla="*/ 771524 h 1212839"/>
                <a:gd name="connsiteX8" fmla="*/ 0 w 1627647"/>
                <a:gd name="connsiteY8" fmla="*/ 538161 h 1212839"/>
                <a:gd name="connsiteX0" fmla="*/ 0 w 1627647"/>
                <a:gd name="connsiteY0" fmla="*/ 745328 h 1420006"/>
                <a:gd name="connsiteX1" fmla="*/ 0 w 1627647"/>
                <a:gd name="connsiteY1" fmla="*/ 1273966 h 1420006"/>
                <a:gd name="connsiteX2" fmla="*/ 1621631 w 1627647"/>
                <a:gd name="connsiteY2" fmla="*/ 731041 h 1420006"/>
                <a:gd name="connsiteX3" fmla="*/ 1323974 w 1627647"/>
                <a:gd name="connsiteY3" fmla="*/ 207167 h 1420006"/>
                <a:gd name="connsiteX4" fmla="*/ 835820 w 1627647"/>
                <a:gd name="connsiteY4" fmla="*/ 0 h 1420006"/>
                <a:gd name="connsiteX5" fmla="*/ 595313 w 1627647"/>
                <a:gd name="connsiteY5" fmla="*/ 392906 h 1420006"/>
                <a:gd name="connsiteX6" fmla="*/ 923925 w 1627647"/>
                <a:gd name="connsiteY6" fmla="*/ 633411 h 1420006"/>
                <a:gd name="connsiteX7" fmla="*/ 621506 w 1627647"/>
                <a:gd name="connsiteY7" fmla="*/ 978691 h 1420006"/>
                <a:gd name="connsiteX8" fmla="*/ 0 w 1627647"/>
                <a:gd name="connsiteY8" fmla="*/ 745328 h 1420006"/>
                <a:gd name="connsiteX0" fmla="*/ 0 w 1591281"/>
                <a:gd name="connsiteY0" fmla="*/ 745328 h 1469663"/>
                <a:gd name="connsiteX1" fmla="*/ 0 w 1591281"/>
                <a:gd name="connsiteY1" fmla="*/ 1273966 h 1469663"/>
                <a:gd name="connsiteX2" fmla="*/ 1574006 w 1591281"/>
                <a:gd name="connsiteY2" fmla="*/ 928685 h 1469663"/>
                <a:gd name="connsiteX3" fmla="*/ 1323974 w 1591281"/>
                <a:gd name="connsiteY3" fmla="*/ 207167 h 1469663"/>
                <a:gd name="connsiteX4" fmla="*/ 835820 w 1591281"/>
                <a:gd name="connsiteY4" fmla="*/ 0 h 1469663"/>
                <a:gd name="connsiteX5" fmla="*/ 595313 w 1591281"/>
                <a:gd name="connsiteY5" fmla="*/ 392906 h 1469663"/>
                <a:gd name="connsiteX6" fmla="*/ 923925 w 1591281"/>
                <a:gd name="connsiteY6" fmla="*/ 633411 h 1469663"/>
                <a:gd name="connsiteX7" fmla="*/ 621506 w 1591281"/>
                <a:gd name="connsiteY7" fmla="*/ 978691 h 1469663"/>
                <a:gd name="connsiteX8" fmla="*/ 0 w 1591281"/>
                <a:gd name="connsiteY8" fmla="*/ 745328 h 1469663"/>
                <a:gd name="connsiteX0" fmla="*/ 0 w 1591281"/>
                <a:gd name="connsiteY0" fmla="*/ 745328 h 1425021"/>
                <a:gd name="connsiteX1" fmla="*/ 0 w 1591281"/>
                <a:gd name="connsiteY1" fmla="*/ 1273966 h 1425021"/>
                <a:gd name="connsiteX2" fmla="*/ 1574006 w 1591281"/>
                <a:gd name="connsiteY2" fmla="*/ 928685 h 1425021"/>
                <a:gd name="connsiteX3" fmla="*/ 1323974 w 1591281"/>
                <a:gd name="connsiteY3" fmla="*/ 207167 h 1425021"/>
                <a:gd name="connsiteX4" fmla="*/ 835820 w 1591281"/>
                <a:gd name="connsiteY4" fmla="*/ 0 h 1425021"/>
                <a:gd name="connsiteX5" fmla="*/ 595313 w 1591281"/>
                <a:gd name="connsiteY5" fmla="*/ 392906 h 1425021"/>
                <a:gd name="connsiteX6" fmla="*/ 923925 w 1591281"/>
                <a:gd name="connsiteY6" fmla="*/ 633411 h 1425021"/>
                <a:gd name="connsiteX7" fmla="*/ 621506 w 1591281"/>
                <a:gd name="connsiteY7" fmla="*/ 978691 h 1425021"/>
                <a:gd name="connsiteX8" fmla="*/ 0 w 1591281"/>
                <a:gd name="connsiteY8" fmla="*/ 745328 h 1425021"/>
                <a:gd name="connsiteX0" fmla="*/ 0 w 1622856"/>
                <a:gd name="connsiteY0" fmla="*/ 745328 h 1425021"/>
                <a:gd name="connsiteX1" fmla="*/ 0 w 1622856"/>
                <a:gd name="connsiteY1" fmla="*/ 1273966 h 1425021"/>
                <a:gd name="connsiteX2" fmla="*/ 1574006 w 1622856"/>
                <a:gd name="connsiteY2" fmla="*/ 928685 h 1425021"/>
                <a:gd name="connsiteX3" fmla="*/ 1323974 w 1622856"/>
                <a:gd name="connsiteY3" fmla="*/ 207167 h 1425021"/>
                <a:gd name="connsiteX4" fmla="*/ 835820 w 1622856"/>
                <a:gd name="connsiteY4" fmla="*/ 0 h 1425021"/>
                <a:gd name="connsiteX5" fmla="*/ 595313 w 1622856"/>
                <a:gd name="connsiteY5" fmla="*/ 392906 h 1425021"/>
                <a:gd name="connsiteX6" fmla="*/ 923925 w 1622856"/>
                <a:gd name="connsiteY6" fmla="*/ 633411 h 1425021"/>
                <a:gd name="connsiteX7" fmla="*/ 621506 w 1622856"/>
                <a:gd name="connsiteY7" fmla="*/ 978691 h 1425021"/>
                <a:gd name="connsiteX8" fmla="*/ 0 w 1622856"/>
                <a:gd name="connsiteY8" fmla="*/ 745328 h 1425021"/>
                <a:gd name="connsiteX0" fmla="*/ 0 w 1608710"/>
                <a:gd name="connsiteY0" fmla="*/ 745328 h 1425021"/>
                <a:gd name="connsiteX1" fmla="*/ 0 w 1608710"/>
                <a:gd name="connsiteY1" fmla="*/ 1273966 h 1425021"/>
                <a:gd name="connsiteX2" fmla="*/ 1574006 w 1608710"/>
                <a:gd name="connsiteY2" fmla="*/ 928685 h 1425021"/>
                <a:gd name="connsiteX3" fmla="*/ 1264443 w 1608710"/>
                <a:gd name="connsiteY3" fmla="*/ 166686 h 1425021"/>
                <a:gd name="connsiteX4" fmla="*/ 835820 w 1608710"/>
                <a:gd name="connsiteY4" fmla="*/ 0 h 1425021"/>
                <a:gd name="connsiteX5" fmla="*/ 595313 w 1608710"/>
                <a:gd name="connsiteY5" fmla="*/ 392906 h 1425021"/>
                <a:gd name="connsiteX6" fmla="*/ 923925 w 1608710"/>
                <a:gd name="connsiteY6" fmla="*/ 633411 h 1425021"/>
                <a:gd name="connsiteX7" fmla="*/ 621506 w 1608710"/>
                <a:gd name="connsiteY7" fmla="*/ 978691 h 1425021"/>
                <a:gd name="connsiteX8" fmla="*/ 0 w 1608710"/>
                <a:gd name="connsiteY8" fmla="*/ 745328 h 1425021"/>
                <a:gd name="connsiteX0" fmla="*/ 0 w 1623138"/>
                <a:gd name="connsiteY0" fmla="*/ 745328 h 1425021"/>
                <a:gd name="connsiteX1" fmla="*/ 0 w 1623138"/>
                <a:gd name="connsiteY1" fmla="*/ 1273966 h 1425021"/>
                <a:gd name="connsiteX2" fmla="*/ 1574006 w 1623138"/>
                <a:gd name="connsiteY2" fmla="*/ 928685 h 1425021"/>
                <a:gd name="connsiteX3" fmla="*/ 1264443 w 1623138"/>
                <a:gd name="connsiteY3" fmla="*/ 166686 h 1425021"/>
                <a:gd name="connsiteX4" fmla="*/ 835820 w 1623138"/>
                <a:gd name="connsiteY4" fmla="*/ 0 h 1425021"/>
                <a:gd name="connsiteX5" fmla="*/ 595313 w 1623138"/>
                <a:gd name="connsiteY5" fmla="*/ 392906 h 1425021"/>
                <a:gd name="connsiteX6" fmla="*/ 923925 w 1623138"/>
                <a:gd name="connsiteY6" fmla="*/ 633411 h 1425021"/>
                <a:gd name="connsiteX7" fmla="*/ 621506 w 1623138"/>
                <a:gd name="connsiteY7" fmla="*/ 978691 h 1425021"/>
                <a:gd name="connsiteX8" fmla="*/ 0 w 1623138"/>
                <a:gd name="connsiteY8" fmla="*/ 745328 h 1425021"/>
                <a:gd name="connsiteX0" fmla="*/ 0 w 1623138"/>
                <a:gd name="connsiteY0" fmla="*/ 745328 h 1425021"/>
                <a:gd name="connsiteX1" fmla="*/ 0 w 1623138"/>
                <a:gd name="connsiteY1" fmla="*/ 1273966 h 1425021"/>
                <a:gd name="connsiteX2" fmla="*/ 1574006 w 1623138"/>
                <a:gd name="connsiteY2" fmla="*/ 928685 h 1425021"/>
                <a:gd name="connsiteX3" fmla="*/ 1264443 w 1623138"/>
                <a:gd name="connsiteY3" fmla="*/ 166686 h 1425021"/>
                <a:gd name="connsiteX4" fmla="*/ 835820 w 1623138"/>
                <a:gd name="connsiteY4" fmla="*/ 0 h 1425021"/>
                <a:gd name="connsiteX5" fmla="*/ 595313 w 1623138"/>
                <a:gd name="connsiteY5" fmla="*/ 392906 h 1425021"/>
                <a:gd name="connsiteX6" fmla="*/ 923925 w 1623138"/>
                <a:gd name="connsiteY6" fmla="*/ 633411 h 1425021"/>
                <a:gd name="connsiteX7" fmla="*/ 621506 w 1623138"/>
                <a:gd name="connsiteY7" fmla="*/ 978691 h 1425021"/>
                <a:gd name="connsiteX8" fmla="*/ 0 w 1623138"/>
                <a:gd name="connsiteY8" fmla="*/ 745328 h 1425021"/>
                <a:gd name="connsiteX0" fmla="*/ 0 w 1623138"/>
                <a:gd name="connsiteY0" fmla="*/ 745328 h 1425021"/>
                <a:gd name="connsiteX1" fmla="*/ 0 w 1623138"/>
                <a:gd name="connsiteY1" fmla="*/ 1273966 h 1425021"/>
                <a:gd name="connsiteX2" fmla="*/ 1574006 w 1623138"/>
                <a:gd name="connsiteY2" fmla="*/ 928685 h 1425021"/>
                <a:gd name="connsiteX3" fmla="*/ 1264443 w 1623138"/>
                <a:gd name="connsiteY3" fmla="*/ 166686 h 1425021"/>
                <a:gd name="connsiteX4" fmla="*/ 835820 w 1623138"/>
                <a:gd name="connsiteY4" fmla="*/ 0 h 1425021"/>
                <a:gd name="connsiteX5" fmla="*/ 709613 w 1623138"/>
                <a:gd name="connsiteY5" fmla="*/ 207169 h 1425021"/>
                <a:gd name="connsiteX6" fmla="*/ 595313 w 1623138"/>
                <a:gd name="connsiteY6" fmla="*/ 392906 h 1425021"/>
                <a:gd name="connsiteX7" fmla="*/ 923925 w 1623138"/>
                <a:gd name="connsiteY7" fmla="*/ 633411 h 1425021"/>
                <a:gd name="connsiteX8" fmla="*/ 621506 w 1623138"/>
                <a:gd name="connsiteY8" fmla="*/ 978691 h 1425021"/>
                <a:gd name="connsiteX9" fmla="*/ 0 w 1623138"/>
                <a:gd name="connsiteY9" fmla="*/ 745328 h 1425021"/>
                <a:gd name="connsiteX0" fmla="*/ 0 w 1623138"/>
                <a:gd name="connsiteY0" fmla="*/ 797716 h 1477409"/>
                <a:gd name="connsiteX1" fmla="*/ 0 w 1623138"/>
                <a:gd name="connsiteY1" fmla="*/ 1326354 h 1477409"/>
                <a:gd name="connsiteX2" fmla="*/ 1574006 w 1623138"/>
                <a:gd name="connsiteY2" fmla="*/ 981073 h 1477409"/>
                <a:gd name="connsiteX3" fmla="*/ 1264443 w 1623138"/>
                <a:gd name="connsiteY3" fmla="*/ 219074 h 1477409"/>
                <a:gd name="connsiteX4" fmla="*/ 835820 w 1623138"/>
                <a:gd name="connsiteY4" fmla="*/ 52388 h 1477409"/>
                <a:gd name="connsiteX5" fmla="*/ 421482 w 1623138"/>
                <a:gd name="connsiteY5" fmla="*/ 0 h 1477409"/>
                <a:gd name="connsiteX6" fmla="*/ 595313 w 1623138"/>
                <a:gd name="connsiteY6" fmla="*/ 445294 h 1477409"/>
                <a:gd name="connsiteX7" fmla="*/ 923925 w 1623138"/>
                <a:gd name="connsiteY7" fmla="*/ 685799 h 1477409"/>
                <a:gd name="connsiteX8" fmla="*/ 621506 w 1623138"/>
                <a:gd name="connsiteY8" fmla="*/ 1031079 h 1477409"/>
                <a:gd name="connsiteX9" fmla="*/ 0 w 1623138"/>
                <a:gd name="connsiteY9" fmla="*/ 797716 h 1477409"/>
                <a:gd name="connsiteX0" fmla="*/ 0 w 1623138"/>
                <a:gd name="connsiteY0" fmla="*/ 797716 h 1477409"/>
                <a:gd name="connsiteX1" fmla="*/ 0 w 1623138"/>
                <a:gd name="connsiteY1" fmla="*/ 1326354 h 1477409"/>
                <a:gd name="connsiteX2" fmla="*/ 1574006 w 1623138"/>
                <a:gd name="connsiteY2" fmla="*/ 981073 h 1477409"/>
                <a:gd name="connsiteX3" fmla="*/ 1264443 w 1623138"/>
                <a:gd name="connsiteY3" fmla="*/ 219074 h 1477409"/>
                <a:gd name="connsiteX4" fmla="*/ 835820 w 1623138"/>
                <a:gd name="connsiteY4" fmla="*/ 52388 h 1477409"/>
                <a:gd name="connsiteX5" fmla="*/ 654844 w 1623138"/>
                <a:gd name="connsiteY5" fmla="*/ 26194 h 1477409"/>
                <a:gd name="connsiteX6" fmla="*/ 421482 w 1623138"/>
                <a:gd name="connsiteY6" fmla="*/ 0 h 1477409"/>
                <a:gd name="connsiteX7" fmla="*/ 595313 w 1623138"/>
                <a:gd name="connsiteY7" fmla="*/ 445294 h 1477409"/>
                <a:gd name="connsiteX8" fmla="*/ 923925 w 1623138"/>
                <a:gd name="connsiteY8" fmla="*/ 685799 h 1477409"/>
                <a:gd name="connsiteX9" fmla="*/ 621506 w 1623138"/>
                <a:gd name="connsiteY9" fmla="*/ 1031079 h 1477409"/>
                <a:gd name="connsiteX10" fmla="*/ 0 w 1623138"/>
                <a:gd name="connsiteY10" fmla="*/ 797716 h 1477409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652572"/>
                <a:gd name="connsiteX1" fmla="*/ 0 w 1623138"/>
                <a:gd name="connsiteY1" fmla="*/ 1647822 h 1652572"/>
                <a:gd name="connsiteX2" fmla="*/ 1574006 w 1623138"/>
                <a:gd name="connsiteY2" fmla="*/ 1302541 h 1652572"/>
                <a:gd name="connsiteX3" fmla="*/ 1264443 w 1623138"/>
                <a:gd name="connsiteY3" fmla="*/ 540542 h 1652572"/>
                <a:gd name="connsiteX4" fmla="*/ 835820 w 1623138"/>
                <a:gd name="connsiteY4" fmla="*/ 373856 h 1652572"/>
                <a:gd name="connsiteX5" fmla="*/ 807244 w 1623138"/>
                <a:gd name="connsiteY5" fmla="*/ 0 h 1652572"/>
                <a:gd name="connsiteX6" fmla="*/ 421482 w 1623138"/>
                <a:gd name="connsiteY6" fmla="*/ 321468 h 1652572"/>
                <a:gd name="connsiteX7" fmla="*/ 595313 w 1623138"/>
                <a:gd name="connsiteY7" fmla="*/ 766762 h 1652572"/>
                <a:gd name="connsiteX8" fmla="*/ 923925 w 1623138"/>
                <a:gd name="connsiteY8" fmla="*/ 1007267 h 1652572"/>
                <a:gd name="connsiteX9" fmla="*/ 621506 w 1623138"/>
                <a:gd name="connsiteY9" fmla="*/ 1352547 h 1652572"/>
                <a:gd name="connsiteX10" fmla="*/ 0 w 1623138"/>
                <a:gd name="connsiteY10" fmla="*/ 1119184 h 1652572"/>
                <a:gd name="connsiteX0" fmla="*/ 0 w 1627271"/>
                <a:gd name="connsiteY0" fmla="*/ 1119184 h 1712926"/>
                <a:gd name="connsiteX1" fmla="*/ 0 w 1627271"/>
                <a:gd name="connsiteY1" fmla="*/ 1647822 h 1712926"/>
                <a:gd name="connsiteX2" fmla="*/ 1574006 w 1627271"/>
                <a:gd name="connsiteY2" fmla="*/ 1302541 h 1712926"/>
                <a:gd name="connsiteX3" fmla="*/ 1264443 w 1627271"/>
                <a:gd name="connsiteY3" fmla="*/ 540542 h 1712926"/>
                <a:gd name="connsiteX4" fmla="*/ 835820 w 1627271"/>
                <a:gd name="connsiteY4" fmla="*/ 373856 h 1712926"/>
                <a:gd name="connsiteX5" fmla="*/ 807244 w 1627271"/>
                <a:gd name="connsiteY5" fmla="*/ 0 h 1712926"/>
                <a:gd name="connsiteX6" fmla="*/ 421482 w 1627271"/>
                <a:gd name="connsiteY6" fmla="*/ 321468 h 1712926"/>
                <a:gd name="connsiteX7" fmla="*/ 595313 w 1627271"/>
                <a:gd name="connsiteY7" fmla="*/ 766762 h 1712926"/>
                <a:gd name="connsiteX8" fmla="*/ 923925 w 1627271"/>
                <a:gd name="connsiteY8" fmla="*/ 1007267 h 1712926"/>
                <a:gd name="connsiteX9" fmla="*/ 621506 w 1627271"/>
                <a:gd name="connsiteY9" fmla="*/ 1352547 h 1712926"/>
                <a:gd name="connsiteX10" fmla="*/ 0 w 1627271"/>
                <a:gd name="connsiteY10" fmla="*/ 1119184 h 1712926"/>
                <a:gd name="connsiteX0" fmla="*/ 0 w 1627271"/>
                <a:gd name="connsiteY0" fmla="*/ 1119184 h 1797816"/>
                <a:gd name="connsiteX1" fmla="*/ 0 w 1627271"/>
                <a:gd name="connsiteY1" fmla="*/ 1647822 h 1797816"/>
                <a:gd name="connsiteX2" fmla="*/ 1574006 w 1627271"/>
                <a:gd name="connsiteY2" fmla="*/ 1302541 h 1797816"/>
                <a:gd name="connsiteX3" fmla="*/ 1264443 w 1627271"/>
                <a:gd name="connsiteY3" fmla="*/ 540542 h 1797816"/>
                <a:gd name="connsiteX4" fmla="*/ 835820 w 1627271"/>
                <a:gd name="connsiteY4" fmla="*/ 373856 h 1797816"/>
                <a:gd name="connsiteX5" fmla="*/ 807244 w 1627271"/>
                <a:gd name="connsiteY5" fmla="*/ 0 h 1797816"/>
                <a:gd name="connsiteX6" fmla="*/ 421482 w 1627271"/>
                <a:gd name="connsiteY6" fmla="*/ 321468 h 1797816"/>
                <a:gd name="connsiteX7" fmla="*/ 595313 w 1627271"/>
                <a:gd name="connsiteY7" fmla="*/ 766762 h 1797816"/>
                <a:gd name="connsiteX8" fmla="*/ 923925 w 1627271"/>
                <a:gd name="connsiteY8" fmla="*/ 1007267 h 1797816"/>
                <a:gd name="connsiteX9" fmla="*/ 621506 w 1627271"/>
                <a:gd name="connsiteY9" fmla="*/ 1352547 h 1797816"/>
                <a:gd name="connsiteX10" fmla="*/ 0 w 1627271"/>
                <a:gd name="connsiteY10" fmla="*/ 1119184 h 1797816"/>
                <a:gd name="connsiteX0" fmla="*/ 0 w 1622231"/>
                <a:gd name="connsiteY0" fmla="*/ 1119184 h 1773253"/>
                <a:gd name="connsiteX1" fmla="*/ 0 w 1622231"/>
                <a:gd name="connsiteY1" fmla="*/ 1647822 h 1773253"/>
                <a:gd name="connsiteX2" fmla="*/ 1574006 w 1622231"/>
                <a:gd name="connsiteY2" fmla="*/ 1302541 h 1773253"/>
                <a:gd name="connsiteX3" fmla="*/ 1264443 w 1622231"/>
                <a:gd name="connsiteY3" fmla="*/ 540542 h 1773253"/>
                <a:gd name="connsiteX4" fmla="*/ 835820 w 1622231"/>
                <a:gd name="connsiteY4" fmla="*/ 373856 h 1773253"/>
                <a:gd name="connsiteX5" fmla="*/ 807244 w 1622231"/>
                <a:gd name="connsiteY5" fmla="*/ 0 h 1773253"/>
                <a:gd name="connsiteX6" fmla="*/ 421482 w 1622231"/>
                <a:gd name="connsiteY6" fmla="*/ 321468 h 1773253"/>
                <a:gd name="connsiteX7" fmla="*/ 595313 w 1622231"/>
                <a:gd name="connsiteY7" fmla="*/ 766762 h 1773253"/>
                <a:gd name="connsiteX8" fmla="*/ 923925 w 1622231"/>
                <a:gd name="connsiteY8" fmla="*/ 1007267 h 1773253"/>
                <a:gd name="connsiteX9" fmla="*/ 621506 w 1622231"/>
                <a:gd name="connsiteY9" fmla="*/ 1352547 h 1773253"/>
                <a:gd name="connsiteX10" fmla="*/ 0 w 1622231"/>
                <a:gd name="connsiteY10" fmla="*/ 1119184 h 1773253"/>
                <a:gd name="connsiteX0" fmla="*/ 0 w 1622231"/>
                <a:gd name="connsiteY0" fmla="*/ 1119184 h 1800701"/>
                <a:gd name="connsiteX1" fmla="*/ 0 w 1622231"/>
                <a:gd name="connsiteY1" fmla="*/ 1647822 h 1800701"/>
                <a:gd name="connsiteX2" fmla="*/ 1574006 w 1622231"/>
                <a:gd name="connsiteY2" fmla="*/ 1302541 h 1800701"/>
                <a:gd name="connsiteX3" fmla="*/ 1264443 w 1622231"/>
                <a:gd name="connsiteY3" fmla="*/ 540542 h 1800701"/>
                <a:gd name="connsiteX4" fmla="*/ 835820 w 1622231"/>
                <a:gd name="connsiteY4" fmla="*/ 373856 h 1800701"/>
                <a:gd name="connsiteX5" fmla="*/ 807244 w 1622231"/>
                <a:gd name="connsiteY5" fmla="*/ 0 h 1800701"/>
                <a:gd name="connsiteX6" fmla="*/ 421482 w 1622231"/>
                <a:gd name="connsiteY6" fmla="*/ 321468 h 1800701"/>
                <a:gd name="connsiteX7" fmla="*/ 595313 w 1622231"/>
                <a:gd name="connsiteY7" fmla="*/ 766762 h 1800701"/>
                <a:gd name="connsiteX8" fmla="*/ 923925 w 1622231"/>
                <a:gd name="connsiteY8" fmla="*/ 1007267 h 1800701"/>
                <a:gd name="connsiteX9" fmla="*/ 621506 w 1622231"/>
                <a:gd name="connsiteY9" fmla="*/ 1352547 h 1800701"/>
                <a:gd name="connsiteX10" fmla="*/ 0 w 1622231"/>
                <a:gd name="connsiteY10" fmla="*/ 1119184 h 1800701"/>
                <a:gd name="connsiteX0" fmla="*/ 0 w 1552023"/>
                <a:gd name="connsiteY0" fmla="*/ 1119184 h 1859749"/>
                <a:gd name="connsiteX1" fmla="*/ 0 w 1552023"/>
                <a:gd name="connsiteY1" fmla="*/ 1647822 h 1859749"/>
                <a:gd name="connsiteX2" fmla="*/ 1462087 w 1552023"/>
                <a:gd name="connsiteY2" fmla="*/ 1469229 h 1859749"/>
                <a:gd name="connsiteX3" fmla="*/ 1264443 w 1552023"/>
                <a:gd name="connsiteY3" fmla="*/ 540542 h 1859749"/>
                <a:gd name="connsiteX4" fmla="*/ 835820 w 1552023"/>
                <a:gd name="connsiteY4" fmla="*/ 373856 h 1859749"/>
                <a:gd name="connsiteX5" fmla="*/ 807244 w 1552023"/>
                <a:gd name="connsiteY5" fmla="*/ 0 h 1859749"/>
                <a:gd name="connsiteX6" fmla="*/ 421482 w 1552023"/>
                <a:gd name="connsiteY6" fmla="*/ 321468 h 1859749"/>
                <a:gd name="connsiteX7" fmla="*/ 595313 w 1552023"/>
                <a:gd name="connsiteY7" fmla="*/ 766762 h 1859749"/>
                <a:gd name="connsiteX8" fmla="*/ 923925 w 1552023"/>
                <a:gd name="connsiteY8" fmla="*/ 1007267 h 1859749"/>
                <a:gd name="connsiteX9" fmla="*/ 621506 w 1552023"/>
                <a:gd name="connsiteY9" fmla="*/ 1352547 h 1859749"/>
                <a:gd name="connsiteX10" fmla="*/ 0 w 1552023"/>
                <a:gd name="connsiteY10" fmla="*/ 1119184 h 1859749"/>
                <a:gd name="connsiteX0" fmla="*/ 0 w 1571973"/>
                <a:gd name="connsiteY0" fmla="*/ 1119184 h 1800114"/>
                <a:gd name="connsiteX1" fmla="*/ 0 w 1571973"/>
                <a:gd name="connsiteY1" fmla="*/ 1647822 h 1800114"/>
                <a:gd name="connsiteX2" fmla="*/ 1462087 w 1571973"/>
                <a:gd name="connsiteY2" fmla="*/ 1469229 h 1800114"/>
                <a:gd name="connsiteX3" fmla="*/ 1264443 w 1571973"/>
                <a:gd name="connsiteY3" fmla="*/ 540542 h 1800114"/>
                <a:gd name="connsiteX4" fmla="*/ 835820 w 1571973"/>
                <a:gd name="connsiteY4" fmla="*/ 373856 h 1800114"/>
                <a:gd name="connsiteX5" fmla="*/ 807244 w 1571973"/>
                <a:gd name="connsiteY5" fmla="*/ 0 h 1800114"/>
                <a:gd name="connsiteX6" fmla="*/ 421482 w 1571973"/>
                <a:gd name="connsiteY6" fmla="*/ 321468 h 1800114"/>
                <a:gd name="connsiteX7" fmla="*/ 595313 w 1571973"/>
                <a:gd name="connsiteY7" fmla="*/ 766762 h 1800114"/>
                <a:gd name="connsiteX8" fmla="*/ 923925 w 1571973"/>
                <a:gd name="connsiteY8" fmla="*/ 1007267 h 1800114"/>
                <a:gd name="connsiteX9" fmla="*/ 621506 w 1571973"/>
                <a:gd name="connsiteY9" fmla="*/ 1352547 h 1800114"/>
                <a:gd name="connsiteX10" fmla="*/ 0 w 1571973"/>
                <a:gd name="connsiteY10" fmla="*/ 1119184 h 1800114"/>
                <a:gd name="connsiteX0" fmla="*/ 0 w 1620477"/>
                <a:gd name="connsiteY0" fmla="*/ 1119184 h 1800815"/>
                <a:gd name="connsiteX1" fmla="*/ 0 w 1620477"/>
                <a:gd name="connsiteY1" fmla="*/ 1647822 h 1800815"/>
                <a:gd name="connsiteX2" fmla="*/ 1462087 w 1620477"/>
                <a:gd name="connsiteY2" fmla="*/ 1469229 h 1800815"/>
                <a:gd name="connsiteX3" fmla="*/ 1264443 w 1620477"/>
                <a:gd name="connsiteY3" fmla="*/ 540542 h 1800815"/>
                <a:gd name="connsiteX4" fmla="*/ 835820 w 1620477"/>
                <a:gd name="connsiteY4" fmla="*/ 373856 h 1800815"/>
                <a:gd name="connsiteX5" fmla="*/ 807244 w 1620477"/>
                <a:gd name="connsiteY5" fmla="*/ 0 h 1800815"/>
                <a:gd name="connsiteX6" fmla="*/ 421482 w 1620477"/>
                <a:gd name="connsiteY6" fmla="*/ 321468 h 1800815"/>
                <a:gd name="connsiteX7" fmla="*/ 595313 w 1620477"/>
                <a:gd name="connsiteY7" fmla="*/ 766762 h 1800815"/>
                <a:gd name="connsiteX8" fmla="*/ 923925 w 1620477"/>
                <a:gd name="connsiteY8" fmla="*/ 1007267 h 1800815"/>
                <a:gd name="connsiteX9" fmla="*/ 621506 w 1620477"/>
                <a:gd name="connsiteY9" fmla="*/ 1352547 h 1800815"/>
                <a:gd name="connsiteX10" fmla="*/ 0 w 1620477"/>
                <a:gd name="connsiteY10" fmla="*/ 1119184 h 1800815"/>
                <a:gd name="connsiteX0" fmla="*/ 0 w 1629436"/>
                <a:gd name="connsiteY0" fmla="*/ 1119184 h 1799377"/>
                <a:gd name="connsiteX1" fmla="*/ 0 w 1629436"/>
                <a:gd name="connsiteY1" fmla="*/ 1647822 h 1799377"/>
                <a:gd name="connsiteX2" fmla="*/ 1476374 w 1629436"/>
                <a:gd name="connsiteY2" fmla="*/ 1464467 h 1799377"/>
                <a:gd name="connsiteX3" fmla="*/ 1264443 w 1629436"/>
                <a:gd name="connsiteY3" fmla="*/ 540542 h 1799377"/>
                <a:gd name="connsiteX4" fmla="*/ 835820 w 1629436"/>
                <a:gd name="connsiteY4" fmla="*/ 373856 h 1799377"/>
                <a:gd name="connsiteX5" fmla="*/ 807244 w 1629436"/>
                <a:gd name="connsiteY5" fmla="*/ 0 h 1799377"/>
                <a:gd name="connsiteX6" fmla="*/ 421482 w 1629436"/>
                <a:gd name="connsiteY6" fmla="*/ 321468 h 1799377"/>
                <a:gd name="connsiteX7" fmla="*/ 595313 w 1629436"/>
                <a:gd name="connsiteY7" fmla="*/ 766762 h 1799377"/>
                <a:gd name="connsiteX8" fmla="*/ 923925 w 1629436"/>
                <a:gd name="connsiteY8" fmla="*/ 1007267 h 1799377"/>
                <a:gd name="connsiteX9" fmla="*/ 621506 w 1629436"/>
                <a:gd name="connsiteY9" fmla="*/ 1352547 h 1799377"/>
                <a:gd name="connsiteX10" fmla="*/ 0 w 1629436"/>
                <a:gd name="connsiteY10" fmla="*/ 1119184 h 1799377"/>
                <a:gd name="connsiteX0" fmla="*/ 0 w 1606110"/>
                <a:gd name="connsiteY0" fmla="*/ 1119184 h 1796213"/>
                <a:gd name="connsiteX1" fmla="*/ 0 w 1606110"/>
                <a:gd name="connsiteY1" fmla="*/ 1647822 h 1796213"/>
                <a:gd name="connsiteX2" fmla="*/ 1476374 w 1606110"/>
                <a:gd name="connsiteY2" fmla="*/ 1464467 h 1796213"/>
                <a:gd name="connsiteX3" fmla="*/ 1264443 w 1606110"/>
                <a:gd name="connsiteY3" fmla="*/ 540542 h 1796213"/>
                <a:gd name="connsiteX4" fmla="*/ 835820 w 1606110"/>
                <a:gd name="connsiteY4" fmla="*/ 373856 h 1796213"/>
                <a:gd name="connsiteX5" fmla="*/ 807244 w 1606110"/>
                <a:gd name="connsiteY5" fmla="*/ 0 h 1796213"/>
                <a:gd name="connsiteX6" fmla="*/ 421482 w 1606110"/>
                <a:gd name="connsiteY6" fmla="*/ 321468 h 1796213"/>
                <a:gd name="connsiteX7" fmla="*/ 595313 w 1606110"/>
                <a:gd name="connsiteY7" fmla="*/ 766762 h 1796213"/>
                <a:gd name="connsiteX8" fmla="*/ 923925 w 1606110"/>
                <a:gd name="connsiteY8" fmla="*/ 1007267 h 1796213"/>
                <a:gd name="connsiteX9" fmla="*/ 621506 w 1606110"/>
                <a:gd name="connsiteY9" fmla="*/ 1352547 h 1796213"/>
                <a:gd name="connsiteX10" fmla="*/ 0 w 1606110"/>
                <a:gd name="connsiteY10" fmla="*/ 1119184 h 1796213"/>
                <a:gd name="connsiteX0" fmla="*/ 0 w 1625337"/>
                <a:gd name="connsiteY0" fmla="*/ 1119184 h 1796213"/>
                <a:gd name="connsiteX1" fmla="*/ 0 w 1625337"/>
                <a:gd name="connsiteY1" fmla="*/ 1647822 h 1796213"/>
                <a:gd name="connsiteX2" fmla="*/ 1476374 w 1625337"/>
                <a:gd name="connsiteY2" fmla="*/ 1464467 h 1796213"/>
                <a:gd name="connsiteX3" fmla="*/ 1264443 w 1625337"/>
                <a:gd name="connsiteY3" fmla="*/ 540542 h 1796213"/>
                <a:gd name="connsiteX4" fmla="*/ 835820 w 1625337"/>
                <a:gd name="connsiteY4" fmla="*/ 373856 h 1796213"/>
                <a:gd name="connsiteX5" fmla="*/ 807244 w 1625337"/>
                <a:gd name="connsiteY5" fmla="*/ 0 h 1796213"/>
                <a:gd name="connsiteX6" fmla="*/ 421482 w 1625337"/>
                <a:gd name="connsiteY6" fmla="*/ 321468 h 1796213"/>
                <a:gd name="connsiteX7" fmla="*/ 595313 w 1625337"/>
                <a:gd name="connsiteY7" fmla="*/ 766762 h 1796213"/>
                <a:gd name="connsiteX8" fmla="*/ 923925 w 1625337"/>
                <a:gd name="connsiteY8" fmla="*/ 1007267 h 1796213"/>
                <a:gd name="connsiteX9" fmla="*/ 621506 w 1625337"/>
                <a:gd name="connsiteY9" fmla="*/ 1352547 h 1796213"/>
                <a:gd name="connsiteX10" fmla="*/ 0 w 1625337"/>
                <a:gd name="connsiteY10" fmla="*/ 1119184 h 1796213"/>
                <a:gd name="connsiteX0" fmla="*/ 0 w 1625337"/>
                <a:gd name="connsiteY0" fmla="*/ 1119184 h 1803595"/>
                <a:gd name="connsiteX1" fmla="*/ 0 w 1625337"/>
                <a:gd name="connsiteY1" fmla="*/ 1647822 h 1803595"/>
                <a:gd name="connsiteX2" fmla="*/ 1476374 w 1625337"/>
                <a:gd name="connsiteY2" fmla="*/ 1464467 h 1803595"/>
                <a:gd name="connsiteX3" fmla="*/ 1264443 w 1625337"/>
                <a:gd name="connsiteY3" fmla="*/ 540542 h 1803595"/>
                <a:gd name="connsiteX4" fmla="*/ 835820 w 1625337"/>
                <a:gd name="connsiteY4" fmla="*/ 373856 h 1803595"/>
                <a:gd name="connsiteX5" fmla="*/ 807244 w 1625337"/>
                <a:gd name="connsiteY5" fmla="*/ 0 h 1803595"/>
                <a:gd name="connsiteX6" fmla="*/ 421482 w 1625337"/>
                <a:gd name="connsiteY6" fmla="*/ 321468 h 1803595"/>
                <a:gd name="connsiteX7" fmla="*/ 595313 w 1625337"/>
                <a:gd name="connsiteY7" fmla="*/ 766762 h 1803595"/>
                <a:gd name="connsiteX8" fmla="*/ 923925 w 1625337"/>
                <a:gd name="connsiteY8" fmla="*/ 1007267 h 1803595"/>
                <a:gd name="connsiteX9" fmla="*/ 621506 w 1625337"/>
                <a:gd name="connsiteY9" fmla="*/ 1352547 h 1803595"/>
                <a:gd name="connsiteX10" fmla="*/ 0 w 1625337"/>
                <a:gd name="connsiteY10" fmla="*/ 1119184 h 1803595"/>
                <a:gd name="connsiteX0" fmla="*/ 0 w 1625337"/>
                <a:gd name="connsiteY0" fmla="*/ 1119184 h 1799376"/>
                <a:gd name="connsiteX1" fmla="*/ 0 w 1625337"/>
                <a:gd name="connsiteY1" fmla="*/ 1647822 h 1799376"/>
                <a:gd name="connsiteX2" fmla="*/ 1476374 w 1625337"/>
                <a:gd name="connsiteY2" fmla="*/ 1464467 h 1799376"/>
                <a:gd name="connsiteX3" fmla="*/ 1264443 w 1625337"/>
                <a:gd name="connsiteY3" fmla="*/ 540542 h 1799376"/>
                <a:gd name="connsiteX4" fmla="*/ 835820 w 1625337"/>
                <a:gd name="connsiteY4" fmla="*/ 373856 h 1799376"/>
                <a:gd name="connsiteX5" fmla="*/ 807244 w 1625337"/>
                <a:gd name="connsiteY5" fmla="*/ 0 h 1799376"/>
                <a:gd name="connsiteX6" fmla="*/ 421482 w 1625337"/>
                <a:gd name="connsiteY6" fmla="*/ 321468 h 1799376"/>
                <a:gd name="connsiteX7" fmla="*/ 595313 w 1625337"/>
                <a:gd name="connsiteY7" fmla="*/ 766762 h 1799376"/>
                <a:gd name="connsiteX8" fmla="*/ 923925 w 1625337"/>
                <a:gd name="connsiteY8" fmla="*/ 1007267 h 1799376"/>
                <a:gd name="connsiteX9" fmla="*/ 621506 w 1625337"/>
                <a:gd name="connsiteY9" fmla="*/ 1352547 h 1799376"/>
                <a:gd name="connsiteX10" fmla="*/ 0 w 1625337"/>
                <a:gd name="connsiteY10" fmla="*/ 1119184 h 1799376"/>
                <a:gd name="connsiteX0" fmla="*/ 0 w 1635914"/>
                <a:gd name="connsiteY0" fmla="*/ 1119184 h 1799376"/>
                <a:gd name="connsiteX1" fmla="*/ 0 w 1635914"/>
                <a:gd name="connsiteY1" fmla="*/ 1647822 h 1799376"/>
                <a:gd name="connsiteX2" fmla="*/ 1476374 w 1635914"/>
                <a:gd name="connsiteY2" fmla="*/ 1464467 h 1799376"/>
                <a:gd name="connsiteX3" fmla="*/ 1264443 w 1635914"/>
                <a:gd name="connsiteY3" fmla="*/ 540542 h 1799376"/>
                <a:gd name="connsiteX4" fmla="*/ 835820 w 1635914"/>
                <a:gd name="connsiteY4" fmla="*/ 373856 h 1799376"/>
                <a:gd name="connsiteX5" fmla="*/ 807244 w 1635914"/>
                <a:gd name="connsiteY5" fmla="*/ 0 h 1799376"/>
                <a:gd name="connsiteX6" fmla="*/ 421482 w 1635914"/>
                <a:gd name="connsiteY6" fmla="*/ 321468 h 1799376"/>
                <a:gd name="connsiteX7" fmla="*/ 595313 w 1635914"/>
                <a:gd name="connsiteY7" fmla="*/ 766762 h 1799376"/>
                <a:gd name="connsiteX8" fmla="*/ 923925 w 1635914"/>
                <a:gd name="connsiteY8" fmla="*/ 1007267 h 1799376"/>
                <a:gd name="connsiteX9" fmla="*/ 621506 w 1635914"/>
                <a:gd name="connsiteY9" fmla="*/ 1352547 h 1799376"/>
                <a:gd name="connsiteX10" fmla="*/ 0 w 1635914"/>
                <a:gd name="connsiteY10" fmla="*/ 1119184 h 1799376"/>
                <a:gd name="connsiteX0" fmla="*/ 0 w 1720482"/>
                <a:gd name="connsiteY0" fmla="*/ 1119184 h 1772537"/>
                <a:gd name="connsiteX1" fmla="*/ 0 w 1720482"/>
                <a:gd name="connsiteY1" fmla="*/ 1647822 h 1772537"/>
                <a:gd name="connsiteX2" fmla="*/ 1476374 w 1720482"/>
                <a:gd name="connsiteY2" fmla="*/ 1464467 h 1772537"/>
                <a:gd name="connsiteX3" fmla="*/ 1397793 w 1720482"/>
                <a:gd name="connsiteY3" fmla="*/ 626267 h 1772537"/>
                <a:gd name="connsiteX4" fmla="*/ 835820 w 1720482"/>
                <a:gd name="connsiteY4" fmla="*/ 373856 h 1772537"/>
                <a:gd name="connsiteX5" fmla="*/ 807244 w 1720482"/>
                <a:gd name="connsiteY5" fmla="*/ 0 h 1772537"/>
                <a:gd name="connsiteX6" fmla="*/ 421482 w 1720482"/>
                <a:gd name="connsiteY6" fmla="*/ 321468 h 1772537"/>
                <a:gd name="connsiteX7" fmla="*/ 595313 w 1720482"/>
                <a:gd name="connsiteY7" fmla="*/ 766762 h 1772537"/>
                <a:gd name="connsiteX8" fmla="*/ 923925 w 1720482"/>
                <a:gd name="connsiteY8" fmla="*/ 1007267 h 1772537"/>
                <a:gd name="connsiteX9" fmla="*/ 621506 w 1720482"/>
                <a:gd name="connsiteY9" fmla="*/ 1352547 h 1772537"/>
                <a:gd name="connsiteX10" fmla="*/ 0 w 1720482"/>
                <a:gd name="connsiteY10" fmla="*/ 1119184 h 1772537"/>
                <a:gd name="connsiteX0" fmla="*/ 0 w 1630664"/>
                <a:gd name="connsiteY0" fmla="*/ 1119184 h 1772537"/>
                <a:gd name="connsiteX1" fmla="*/ 0 w 1630664"/>
                <a:gd name="connsiteY1" fmla="*/ 1647822 h 1772537"/>
                <a:gd name="connsiteX2" fmla="*/ 1476374 w 1630664"/>
                <a:gd name="connsiteY2" fmla="*/ 1464467 h 1772537"/>
                <a:gd name="connsiteX3" fmla="*/ 1397793 w 1630664"/>
                <a:gd name="connsiteY3" fmla="*/ 626267 h 1772537"/>
                <a:gd name="connsiteX4" fmla="*/ 835820 w 1630664"/>
                <a:gd name="connsiteY4" fmla="*/ 373856 h 1772537"/>
                <a:gd name="connsiteX5" fmla="*/ 807244 w 1630664"/>
                <a:gd name="connsiteY5" fmla="*/ 0 h 1772537"/>
                <a:gd name="connsiteX6" fmla="*/ 421482 w 1630664"/>
                <a:gd name="connsiteY6" fmla="*/ 321468 h 1772537"/>
                <a:gd name="connsiteX7" fmla="*/ 595313 w 1630664"/>
                <a:gd name="connsiteY7" fmla="*/ 766762 h 1772537"/>
                <a:gd name="connsiteX8" fmla="*/ 923925 w 1630664"/>
                <a:gd name="connsiteY8" fmla="*/ 1007267 h 1772537"/>
                <a:gd name="connsiteX9" fmla="*/ 621506 w 1630664"/>
                <a:gd name="connsiteY9" fmla="*/ 1352547 h 1772537"/>
                <a:gd name="connsiteX10" fmla="*/ 0 w 1630664"/>
                <a:gd name="connsiteY10" fmla="*/ 1119184 h 1772537"/>
                <a:gd name="connsiteX0" fmla="*/ 0 w 1615856"/>
                <a:gd name="connsiteY0" fmla="*/ 1119184 h 1800557"/>
                <a:gd name="connsiteX1" fmla="*/ 0 w 1615856"/>
                <a:gd name="connsiteY1" fmla="*/ 1647822 h 1800557"/>
                <a:gd name="connsiteX2" fmla="*/ 1476374 w 1615856"/>
                <a:gd name="connsiteY2" fmla="*/ 1464467 h 1800557"/>
                <a:gd name="connsiteX3" fmla="*/ 1397793 w 1615856"/>
                <a:gd name="connsiteY3" fmla="*/ 626267 h 1800557"/>
                <a:gd name="connsiteX4" fmla="*/ 835820 w 1615856"/>
                <a:gd name="connsiteY4" fmla="*/ 373856 h 1800557"/>
                <a:gd name="connsiteX5" fmla="*/ 807244 w 1615856"/>
                <a:gd name="connsiteY5" fmla="*/ 0 h 1800557"/>
                <a:gd name="connsiteX6" fmla="*/ 421482 w 1615856"/>
                <a:gd name="connsiteY6" fmla="*/ 321468 h 1800557"/>
                <a:gd name="connsiteX7" fmla="*/ 595313 w 1615856"/>
                <a:gd name="connsiteY7" fmla="*/ 766762 h 1800557"/>
                <a:gd name="connsiteX8" fmla="*/ 923925 w 1615856"/>
                <a:gd name="connsiteY8" fmla="*/ 1007267 h 1800557"/>
                <a:gd name="connsiteX9" fmla="*/ 621506 w 1615856"/>
                <a:gd name="connsiteY9" fmla="*/ 1352547 h 1800557"/>
                <a:gd name="connsiteX10" fmla="*/ 0 w 1615856"/>
                <a:gd name="connsiteY10" fmla="*/ 1119184 h 1800557"/>
                <a:gd name="connsiteX0" fmla="*/ 0 w 1626496"/>
                <a:gd name="connsiteY0" fmla="*/ 1119184 h 1800277"/>
                <a:gd name="connsiteX1" fmla="*/ 0 w 1626496"/>
                <a:gd name="connsiteY1" fmla="*/ 1647822 h 1800277"/>
                <a:gd name="connsiteX2" fmla="*/ 1476374 w 1626496"/>
                <a:gd name="connsiteY2" fmla="*/ 1464467 h 1800277"/>
                <a:gd name="connsiteX3" fmla="*/ 1397793 w 1626496"/>
                <a:gd name="connsiteY3" fmla="*/ 626267 h 1800277"/>
                <a:gd name="connsiteX4" fmla="*/ 835820 w 1626496"/>
                <a:gd name="connsiteY4" fmla="*/ 373856 h 1800277"/>
                <a:gd name="connsiteX5" fmla="*/ 807244 w 1626496"/>
                <a:gd name="connsiteY5" fmla="*/ 0 h 1800277"/>
                <a:gd name="connsiteX6" fmla="*/ 421482 w 1626496"/>
                <a:gd name="connsiteY6" fmla="*/ 321468 h 1800277"/>
                <a:gd name="connsiteX7" fmla="*/ 595313 w 1626496"/>
                <a:gd name="connsiteY7" fmla="*/ 766762 h 1800277"/>
                <a:gd name="connsiteX8" fmla="*/ 923925 w 1626496"/>
                <a:gd name="connsiteY8" fmla="*/ 1007267 h 1800277"/>
                <a:gd name="connsiteX9" fmla="*/ 621506 w 1626496"/>
                <a:gd name="connsiteY9" fmla="*/ 1352547 h 1800277"/>
                <a:gd name="connsiteX10" fmla="*/ 0 w 1626496"/>
                <a:gd name="connsiteY10" fmla="*/ 1119184 h 18002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26496" h="1800277">
                  <a:moveTo>
                    <a:pt x="0" y="1119184"/>
                  </a:moveTo>
                  <a:lnTo>
                    <a:pt x="0" y="1647822"/>
                  </a:lnTo>
                  <a:cubicBezTo>
                    <a:pt x="686196" y="1947462"/>
                    <a:pt x="1196953" y="1762179"/>
                    <a:pt x="1476374" y="1464467"/>
                  </a:cubicBezTo>
                  <a:cubicBezTo>
                    <a:pt x="1699180" y="1227076"/>
                    <a:pt x="1674781" y="817990"/>
                    <a:pt x="1397793" y="626267"/>
                  </a:cubicBezTo>
                  <a:cubicBezTo>
                    <a:pt x="1228944" y="509394"/>
                    <a:pt x="1023144" y="457993"/>
                    <a:pt x="835820" y="373856"/>
                  </a:cubicBezTo>
                  <a:cubicBezTo>
                    <a:pt x="676275" y="325437"/>
                    <a:pt x="542926" y="112711"/>
                    <a:pt x="807244" y="0"/>
                  </a:cubicBezTo>
                  <a:cubicBezTo>
                    <a:pt x="507207" y="50006"/>
                    <a:pt x="440530" y="235745"/>
                    <a:pt x="421482" y="321468"/>
                  </a:cubicBezTo>
                  <a:cubicBezTo>
                    <a:pt x="362745" y="574674"/>
                    <a:pt x="546894" y="723107"/>
                    <a:pt x="595313" y="766762"/>
                  </a:cubicBezTo>
                  <a:cubicBezTo>
                    <a:pt x="664369" y="835024"/>
                    <a:pt x="857250" y="884236"/>
                    <a:pt x="923925" y="1007267"/>
                  </a:cubicBezTo>
                  <a:cubicBezTo>
                    <a:pt x="992188" y="1158079"/>
                    <a:pt x="883541" y="1334500"/>
                    <a:pt x="621506" y="1352547"/>
                  </a:cubicBezTo>
                  <a:cubicBezTo>
                    <a:pt x="455755" y="1363963"/>
                    <a:pt x="205977" y="1265235"/>
                    <a:pt x="0" y="1119184"/>
                  </a:cubicBezTo>
                  <a:close/>
                </a:path>
              </a:pathLst>
            </a:custGeom>
            <a:solidFill>
              <a:srgbClr val="0F238D"/>
            </a:solidFill>
            <a:ln w="127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noProof="0">
                <a:solidFill>
                  <a:schemeClr val="accent1"/>
                </a:solidFill>
              </a:endParaRPr>
            </a:p>
          </p:txBody>
        </p:sp>
        <p:sp>
          <p:nvSpPr>
            <p:cNvPr id="30" name="Freeform 34"/>
            <p:cNvSpPr/>
            <p:nvPr userDrawn="1"/>
          </p:nvSpPr>
          <p:spPr>
            <a:xfrm>
              <a:off x="8504651" y="159540"/>
              <a:ext cx="118940" cy="68882"/>
            </a:xfrm>
            <a:custGeom>
              <a:avLst/>
              <a:gdLst>
                <a:gd name="connsiteX0" fmla="*/ 1404937 w 1404937"/>
                <a:gd name="connsiteY0" fmla="*/ 635794 h 788194"/>
                <a:gd name="connsiteX1" fmla="*/ 1402556 w 1404937"/>
                <a:gd name="connsiteY1" fmla="*/ 64294 h 788194"/>
                <a:gd name="connsiteX2" fmla="*/ 547687 w 1404937"/>
                <a:gd name="connsiteY2" fmla="*/ 0 h 788194"/>
                <a:gd name="connsiteX3" fmla="*/ 14287 w 1404937"/>
                <a:gd name="connsiteY3" fmla="*/ 469106 h 788194"/>
                <a:gd name="connsiteX4" fmla="*/ 0 w 1404937"/>
                <a:gd name="connsiteY4" fmla="*/ 788194 h 788194"/>
                <a:gd name="connsiteX5" fmla="*/ 283368 w 1404937"/>
                <a:gd name="connsiteY5" fmla="*/ 438150 h 788194"/>
                <a:gd name="connsiteX6" fmla="*/ 821531 w 1404937"/>
                <a:gd name="connsiteY6" fmla="*/ 371475 h 788194"/>
                <a:gd name="connsiteX7" fmla="*/ 1404937 w 1404937"/>
                <a:gd name="connsiteY7" fmla="*/ 635794 h 788194"/>
                <a:gd name="connsiteX0" fmla="*/ 1404937 w 1404937"/>
                <a:gd name="connsiteY0" fmla="*/ 635794 h 788194"/>
                <a:gd name="connsiteX1" fmla="*/ 1402556 w 1404937"/>
                <a:gd name="connsiteY1" fmla="*/ 64294 h 788194"/>
                <a:gd name="connsiteX2" fmla="*/ 547687 w 1404937"/>
                <a:gd name="connsiteY2" fmla="*/ 0 h 788194"/>
                <a:gd name="connsiteX3" fmla="*/ 14287 w 1404937"/>
                <a:gd name="connsiteY3" fmla="*/ 469106 h 788194"/>
                <a:gd name="connsiteX4" fmla="*/ 0 w 1404937"/>
                <a:gd name="connsiteY4" fmla="*/ 788194 h 788194"/>
                <a:gd name="connsiteX5" fmla="*/ 283368 w 1404937"/>
                <a:gd name="connsiteY5" fmla="*/ 438150 h 788194"/>
                <a:gd name="connsiteX6" fmla="*/ 821531 w 1404937"/>
                <a:gd name="connsiteY6" fmla="*/ 371475 h 788194"/>
                <a:gd name="connsiteX7" fmla="*/ 1404937 w 1404937"/>
                <a:gd name="connsiteY7" fmla="*/ 635794 h 788194"/>
                <a:gd name="connsiteX0" fmla="*/ 1404937 w 1404937"/>
                <a:gd name="connsiteY0" fmla="*/ 635794 h 788194"/>
                <a:gd name="connsiteX1" fmla="*/ 1402556 w 1404937"/>
                <a:gd name="connsiteY1" fmla="*/ 64294 h 788194"/>
                <a:gd name="connsiteX2" fmla="*/ 547687 w 1404937"/>
                <a:gd name="connsiteY2" fmla="*/ 0 h 788194"/>
                <a:gd name="connsiteX3" fmla="*/ 14287 w 1404937"/>
                <a:gd name="connsiteY3" fmla="*/ 469106 h 788194"/>
                <a:gd name="connsiteX4" fmla="*/ 0 w 1404937"/>
                <a:gd name="connsiteY4" fmla="*/ 788194 h 788194"/>
                <a:gd name="connsiteX5" fmla="*/ 283368 w 1404937"/>
                <a:gd name="connsiteY5" fmla="*/ 438150 h 788194"/>
                <a:gd name="connsiteX6" fmla="*/ 821531 w 1404937"/>
                <a:gd name="connsiteY6" fmla="*/ 371475 h 788194"/>
                <a:gd name="connsiteX7" fmla="*/ 1404937 w 1404937"/>
                <a:gd name="connsiteY7" fmla="*/ 635794 h 788194"/>
                <a:gd name="connsiteX0" fmla="*/ 1404937 w 1404937"/>
                <a:gd name="connsiteY0" fmla="*/ 635794 h 788194"/>
                <a:gd name="connsiteX1" fmla="*/ 1402556 w 1404937"/>
                <a:gd name="connsiteY1" fmla="*/ 64294 h 788194"/>
                <a:gd name="connsiteX2" fmla="*/ 547687 w 1404937"/>
                <a:gd name="connsiteY2" fmla="*/ 0 h 788194"/>
                <a:gd name="connsiteX3" fmla="*/ 14287 w 1404937"/>
                <a:gd name="connsiteY3" fmla="*/ 469106 h 788194"/>
                <a:gd name="connsiteX4" fmla="*/ 0 w 1404937"/>
                <a:gd name="connsiteY4" fmla="*/ 788194 h 788194"/>
                <a:gd name="connsiteX5" fmla="*/ 283368 w 1404937"/>
                <a:gd name="connsiteY5" fmla="*/ 438150 h 788194"/>
                <a:gd name="connsiteX6" fmla="*/ 821531 w 1404937"/>
                <a:gd name="connsiteY6" fmla="*/ 371475 h 788194"/>
                <a:gd name="connsiteX7" fmla="*/ 1404937 w 1404937"/>
                <a:gd name="connsiteY7" fmla="*/ 635794 h 788194"/>
                <a:gd name="connsiteX0" fmla="*/ 1404937 w 1404937"/>
                <a:gd name="connsiteY0" fmla="*/ 635794 h 788194"/>
                <a:gd name="connsiteX1" fmla="*/ 1402556 w 1404937"/>
                <a:gd name="connsiteY1" fmla="*/ 64294 h 788194"/>
                <a:gd name="connsiteX2" fmla="*/ 547687 w 1404937"/>
                <a:gd name="connsiteY2" fmla="*/ 0 h 788194"/>
                <a:gd name="connsiteX3" fmla="*/ 14287 w 1404937"/>
                <a:gd name="connsiteY3" fmla="*/ 469106 h 788194"/>
                <a:gd name="connsiteX4" fmla="*/ 0 w 1404937"/>
                <a:gd name="connsiteY4" fmla="*/ 788194 h 788194"/>
                <a:gd name="connsiteX5" fmla="*/ 283368 w 1404937"/>
                <a:gd name="connsiteY5" fmla="*/ 438150 h 788194"/>
                <a:gd name="connsiteX6" fmla="*/ 821531 w 1404937"/>
                <a:gd name="connsiteY6" fmla="*/ 371475 h 788194"/>
                <a:gd name="connsiteX7" fmla="*/ 1404937 w 1404937"/>
                <a:gd name="connsiteY7" fmla="*/ 635794 h 788194"/>
                <a:gd name="connsiteX0" fmla="*/ 1404937 w 1404937"/>
                <a:gd name="connsiteY0" fmla="*/ 635794 h 788194"/>
                <a:gd name="connsiteX1" fmla="*/ 1402556 w 1404937"/>
                <a:gd name="connsiteY1" fmla="*/ 64294 h 788194"/>
                <a:gd name="connsiteX2" fmla="*/ 547687 w 1404937"/>
                <a:gd name="connsiteY2" fmla="*/ 0 h 788194"/>
                <a:gd name="connsiteX3" fmla="*/ 14287 w 1404937"/>
                <a:gd name="connsiteY3" fmla="*/ 469106 h 788194"/>
                <a:gd name="connsiteX4" fmla="*/ 0 w 1404937"/>
                <a:gd name="connsiteY4" fmla="*/ 788194 h 788194"/>
                <a:gd name="connsiteX5" fmla="*/ 283368 w 1404937"/>
                <a:gd name="connsiteY5" fmla="*/ 438150 h 788194"/>
                <a:gd name="connsiteX6" fmla="*/ 821531 w 1404937"/>
                <a:gd name="connsiteY6" fmla="*/ 371475 h 788194"/>
                <a:gd name="connsiteX7" fmla="*/ 1404937 w 1404937"/>
                <a:gd name="connsiteY7" fmla="*/ 635794 h 788194"/>
                <a:gd name="connsiteX0" fmla="*/ 1404937 w 1404937"/>
                <a:gd name="connsiteY0" fmla="*/ 635794 h 788194"/>
                <a:gd name="connsiteX1" fmla="*/ 1402556 w 1404937"/>
                <a:gd name="connsiteY1" fmla="*/ 64294 h 788194"/>
                <a:gd name="connsiteX2" fmla="*/ 547687 w 1404937"/>
                <a:gd name="connsiteY2" fmla="*/ 0 h 788194"/>
                <a:gd name="connsiteX3" fmla="*/ 14287 w 1404937"/>
                <a:gd name="connsiteY3" fmla="*/ 469106 h 788194"/>
                <a:gd name="connsiteX4" fmla="*/ 0 w 1404937"/>
                <a:gd name="connsiteY4" fmla="*/ 788194 h 788194"/>
                <a:gd name="connsiteX5" fmla="*/ 283368 w 1404937"/>
                <a:gd name="connsiteY5" fmla="*/ 438150 h 788194"/>
                <a:gd name="connsiteX6" fmla="*/ 821531 w 1404937"/>
                <a:gd name="connsiteY6" fmla="*/ 371475 h 788194"/>
                <a:gd name="connsiteX7" fmla="*/ 1404937 w 1404937"/>
                <a:gd name="connsiteY7" fmla="*/ 635794 h 788194"/>
                <a:gd name="connsiteX0" fmla="*/ 1404937 w 1404937"/>
                <a:gd name="connsiteY0" fmla="*/ 635794 h 788194"/>
                <a:gd name="connsiteX1" fmla="*/ 1402556 w 1404937"/>
                <a:gd name="connsiteY1" fmla="*/ 64294 h 788194"/>
                <a:gd name="connsiteX2" fmla="*/ 547687 w 1404937"/>
                <a:gd name="connsiteY2" fmla="*/ 0 h 788194"/>
                <a:gd name="connsiteX3" fmla="*/ 14287 w 1404937"/>
                <a:gd name="connsiteY3" fmla="*/ 469106 h 788194"/>
                <a:gd name="connsiteX4" fmla="*/ 0 w 1404937"/>
                <a:gd name="connsiteY4" fmla="*/ 788194 h 788194"/>
                <a:gd name="connsiteX5" fmla="*/ 283368 w 1404937"/>
                <a:gd name="connsiteY5" fmla="*/ 438150 h 788194"/>
                <a:gd name="connsiteX6" fmla="*/ 821531 w 1404937"/>
                <a:gd name="connsiteY6" fmla="*/ 371475 h 788194"/>
                <a:gd name="connsiteX7" fmla="*/ 1404937 w 1404937"/>
                <a:gd name="connsiteY7" fmla="*/ 635794 h 788194"/>
                <a:gd name="connsiteX0" fmla="*/ 1404937 w 1404937"/>
                <a:gd name="connsiteY0" fmla="*/ 635794 h 788194"/>
                <a:gd name="connsiteX1" fmla="*/ 1402556 w 1404937"/>
                <a:gd name="connsiteY1" fmla="*/ 64294 h 788194"/>
                <a:gd name="connsiteX2" fmla="*/ 547687 w 1404937"/>
                <a:gd name="connsiteY2" fmla="*/ 0 h 788194"/>
                <a:gd name="connsiteX3" fmla="*/ 14287 w 1404937"/>
                <a:gd name="connsiteY3" fmla="*/ 469106 h 788194"/>
                <a:gd name="connsiteX4" fmla="*/ 0 w 1404937"/>
                <a:gd name="connsiteY4" fmla="*/ 788194 h 788194"/>
                <a:gd name="connsiteX5" fmla="*/ 283368 w 1404937"/>
                <a:gd name="connsiteY5" fmla="*/ 438150 h 788194"/>
                <a:gd name="connsiteX6" fmla="*/ 821531 w 1404937"/>
                <a:gd name="connsiteY6" fmla="*/ 371475 h 788194"/>
                <a:gd name="connsiteX7" fmla="*/ 1404937 w 1404937"/>
                <a:gd name="connsiteY7" fmla="*/ 635794 h 788194"/>
                <a:gd name="connsiteX0" fmla="*/ 1404937 w 1413690"/>
                <a:gd name="connsiteY0" fmla="*/ 635794 h 788194"/>
                <a:gd name="connsiteX1" fmla="*/ 1402556 w 1413690"/>
                <a:gd name="connsiteY1" fmla="*/ 64294 h 788194"/>
                <a:gd name="connsiteX2" fmla="*/ 547687 w 1413690"/>
                <a:gd name="connsiteY2" fmla="*/ 0 h 788194"/>
                <a:gd name="connsiteX3" fmla="*/ 14287 w 1413690"/>
                <a:gd name="connsiteY3" fmla="*/ 469106 h 788194"/>
                <a:gd name="connsiteX4" fmla="*/ 0 w 1413690"/>
                <a:gd name="connsiteY4" fmla="*/ 788194 h 788194"/>
                <a:gd name="connsiteX5" fmla="*/ 283368 w 1413690"/>
                <a:gd name="connsiteY5" fmla="*/ 438150 h 788194"/>
                <a:gd name="connsiteX6" fmla="*/ 821531 w 1413690"/>
                <a:gd name="connsiteY6" fmla="*/ 371475 h 788194"/>
                <a:gd name="connsiteX7" fmla="*/ 1404937 w 1413690"/>
                <a:gd name="connsiteY7" fmla="*/ 635794 h 788194"/>
                <a:gd name="connsiteX0" fmla="*/ 1404937 w 1417413"/>
                <a:gd name="connsiteY0" fmla="*/ 635794 h 788194"/>
                <a:gd name="connsiteX1" fmla="*/ 1402556 w 1417413"/>
                <a:gd name="connsiteY1" fmla="*/ 64294 h 788194"/>
                <a:gd name="connsiteX2" fmla="*/ 547687 w 1417413"/>
                <a:gd name="connsiteY2" fmla="*/ 0 h 788194"/>
                <a:gd name="connsiteX3" fmla="*/ 14287 w 1417413"/>
                <a:gd name="connsiteY3" fmla="*/ 469106 h 788194"/>
                <a:gd name="connsiteX4" fmla="*/ 0 w 1417413"/>
                <a:gd name="connsiteY4" fmla="*/ 788194 h 788194"/>
                <a:gd name="connsiteX5" fmla="*/ 283368 w 1417413"/>
                <a:gd name="connsiteY5" fmla="*/ 438150 h 788194"/>
                <a:gd name="connsiteX6" fmla="*/ 821531 w 1417413"/>
                <a:gd name="connsiteY6" fmla="*/ 371475 h 788194"/>
                <a:gd name="connsiteX7" fmla="*/ 1404937 w 1417413"/>
                <a:gd name="connsiteY7" fmla="*/ 635794 h 788194"/>
                <a:gd name="connsiteX0" fmla="*/ 1404937 w 1417413"/>
                <a:gd name="connsiteY0" fmla="*/ 636458 h 788858"/>
                <a:gd name="connsiteX1" fmla="*/ 1402556 w 1417413"/>
                <a:gd name="connsiteY1" fmla="*/ 64958 h 788858"/>
                <a:gd name="connsiteX2" fmla="*/ 547687 w 1417413"/>
                <a:gd name="connsiteY2" fmla="*/ 664 h 788858"/>
                <a:gd name="connsiteX3" fmla="*/ 14287 w 1417413"/>
                <a:gd name="connsiteY3" fmla="*/ 469770 h 788858"/>
                <a:gd name="connsiteX4" fmla="*/ 0 w 1417413"/>
                <a:gd name="connsiteY4" fmla="*/ 788858 h 788858"/>
                <a:gd name="connsiteX5" fmla="*/ 283368 w 1417413"/>
                <a:gd name="connsiteY5" fmla="*/ 438814 h 788858"/>
                <a:gd name="connsiteX6" fmla="*/ 821531 w 1417413"/>
                <a:gd name="connsiteY6" fmla="*/ 372139 h 788858"/>
                <a:gd name="connsiteX7" fmla="*/ 1404937 w 1417413"/>
                <a:gd name="connsiteY7" fmla="*/ 636458 h 788858"/>
                <a:gd name="connsiteX0" fmla="*/ 1404937 w 1417413"/>
                <a:gd name="connsiteY0" fmla="*/ 659983 h 812383"/>
                <a:gd name="connsiteX1" fmla="*/ 1402556 w 1417413"/>
                <a:gd name="connsiteY1" fmla="*/ 88483 h 812383"/>
                <a:gd name="connsiteX2" fmla="*/ 547687 w 1417413"/>
                <a:gd name="connsiteY2" fmla="*/ 24189 h 812383"/>
                <a:gd name="connsiteX3" fmla="*/ 14287 w 1417413"/>
                <a:gd name="connsiteY3" fmla="*/ 493295 h 812383"/>
                <a:gd name="connsiteX4" fmla="*/ 0 w 1417413"/>
                <a:gd name="connsiteY4" fmla="*/ 812383 h 812383"/>
                <a:gd name="connsiteX5" fmla="*/ 283368 w 1417413"/>
                <a:gd name="connsiteY5" fmla="*/ 462339 h 812383"/>
                <a:gd name="connsiteX6" fmla="*/ 821531 w 1417413"/>
                <a:gd name="connsiteY6" fmla="*/ 395664 h 812383"/>
                <a:gd name="connsiteX7" fmla="*/ 1404937 w 1417413"/>
                <a:gd name="connsiteY7" fmla="*/ 659983 h 812383"/>
                <a:gd name="connsiteX0" fmla="*/ 1404937 w 1417413"/>
                <a:gd name="connsiteY0" fmla="*/ 674932 h 827332"/>
                <a:gd name="connsiteX1" fmla="*/ 1402556 w 1417413"/>
                <a:gd name="connsiteY1" fmla="*/ 103432 h 827332"/>
                <a:gd name="connsiteX2" fmla="*/ 547687 w 1417413"/>
                <a:gd name="connsiteY2" fmla="*/ 39138 h 827332"/>
                <a:gd name="connsiteX3" fmla="*/ 14287 w 1417413"/>
                <a:gd name="connsiteY3" fmla="*/ 508244 h 827332"/>
                <a:gd name="connsiteX4" fmla="*/ 0 w 1417413"/>
                <a:gd name="connsiteY4" fmla="*/ 827332 h 827332"/>
                <a:gd name="connsiteX5" fmla="*/ 283368 w 1417413"/>
                <a:gd name="connsiteY5" fmla="*/ 477288 h 827332"/>
                <a:gd name="connsiteX6" fmla="*/ 821531 w 1417413"/>
                <a:gd name="connsiteY6" fmla="*/ 410613 h 827332"/>
                <a:gd name="connsiteX7" fmla="*/ 1404937 w 1417413"/>
                <a:gd name="connsiteY7" fmla="*/ 674932 h 827332"/>
                <a:gd name="connsiteX0" fmla="*/ 1404937 w 1417413"/>
                <a:gd name="connsiteY0" fmla="*/ 674932 h 827332"/>
                <a:gd name="connsiteX1" fmla="*/ 1402556 w 1417413"/>
                <a:gd name="connsiteY1" fmla="*/ 103432 h 827332"/>
                <a:gd name="connsiteX2" fmla="*/ 547687 w 1417413"/>
                <a:gd name="connsiteY2" fmla="*/ 39138 h 827332"/>
                <a:gd name="connsiteX3" fmla="*/ 14287 w 1417413"/>
                <a:gd name="connsiteY3" fmla="*/ 508244 h 827332"/>
                <a:gd name="connsiteX4" fmla="*/ 0 w 1417413"/>
                <a:gd name="connsiteY4" fmla="*/ 827332 h 827332"/>
                <a:gd name="connsiteX5" fmla="*/ 283368 w 1417413"/>
                <a:gd name="connsiteY5" fmla="*/ 477288 h 827332"/>
                <a:gd name="connsiteX6" fmla="*/ 821531 w 1417413"/>
                <a:gd name="connsiteY6" fmla="*/ 410613 h 827332"/>
                <a:gd name="connsiteX7" fmla="*/ 1404937 w 1417413"/>
                <a:gd name="connsiteY7" fmla="*/ 674932 h 827332"/>
                <a:gd name="connsiteX0" fmla="*/ 1406804 w 1419280"/>
                <a:gd name="connsiteY0" fmla="*/ 674932 h 827332"/>
                <a:gd name="connsiteX1" fmla="*/ 1404423 w 1419280"/>
                <a:gd name="connsiteY1" fmla="*/ 103432 h 827332"/>
                <a:gd name="connsiteX2" fmla="*/ 549554 w 1419280"/>
                <a:gd name="connsiteY2" fmla="*/ 39138 h 827332"/>
                <a:gd name="connsiteX3" fmla="*/ 16154 w 1419280"/>
                <a:gd name="connsiteY3" fmla="*/ 508244 h 827332"/>
                <a:gd name="connsiteX4" fmla="*/ 1867 w 1419280"/>
                <a:gd name="connsiteY4" fmla="*/ 827332 h 827332"/>
                <a:gd name="connsiteX5" fmla="*/ 285235 w 1419280"/>
                <a:gd name="connsiteY5" fmla="*/ 477288 h 827332"/>
                <a:gd name="connsiteX6" fmla="*/ 823398 w 1419280"/>
                <a:gd name="connsiteY6" fmla="*/ 410613 h 827332"/>
                <a:gd name="connsiteX7" fmla="*/ 1406804 w 1419280"/>
                <a:gd name="connsiteY7" fmla="*/ 674932 h 827332"/>
                <a:gd name="connsiteX0" fmla="*/ 1409119 w 1421595"/>
                <a:gd name="connsiteY0" fmla="*/ 674932 h 827332"/>
                <a:gd name="connsiteX1" fmla="*/ 1406738 w 1421595"/>
                <a:gd name="connsiteY1" fmla="*/ 103432 h 827332"/>
                <a:gd name="connsiteX2" fmla="*/ 551869 w 1421595"/>
                <a:gd name="connsiteY2" fmla="*/ 39138 h 827332"/>
                <a:gd name="connsiteX3" fmla="*/ 18469 w 1421595"/>
                <a:gd name="connsiteY3" fmla="*/ 508244 h 827332"/>
                <a:gd name="connsiteX4" fmla="*/ 4182 w 1421595"/>
                <a:gd name="connsiteY4" fmla="*/ 827332 h 827332"/>
                <a:gd name="connsiteX5" fmla="*/ 287550 w 1421595"/>
                <a:gd name="connsiteY5" fmla="*/ 477288 h 827332"/>
                <a:gd name="connsiteX6" fmla="*/ 825713 w 1421595"/>
                <a:gd name="connsiteY6" fmla="*/ 410613 h 827332"/>
                <a:gd name="connsiteX7" fmla="*/ 1409119 w 1421595"/>
                <a:gd name="connsiteY7" fmla="*/ 674932 h 827332"/>
                <a:gd name="connsiteX0" fmla="*/ 1417088 w 1429564"/>
                <a:gd name="connsiteY0" fmla="*/ 674932 h 827332"/>
                <a:gd name="connsiteX1" fmla="*/ 1414707 w 1429564"/>
                <a:gd name="connsiteY1" fmla="*/ 103432 h 827332"/>
                <a:gd name="connsiteX2" fmla="*/ 559838 w 1429564"/>
                <a:gd name="connsiteY2" fmla="*/ 39138 h 827332"/>
                <a:gd name="connsiteX3" fmla="*/ 26438 w 1429564"/>
                <a:gd name="connsiteY3" fmla="*/ 508244 h 827332"/>
                <a:gd name="connsiteX4" fmla="*/ 12151 w 1429564"/>
                <a:gd name="connsiteY4" fmla="*/ 827332 h 827332"/>
                <a:gd name="connsiteX5" fmla="*/ 295519 w 1429564"/>
                <a:gd name="connsiteY5" fmla="*/ 477288 h 827332"/>
                <a:gd name="connsiteX6" fmla="*/ 833682 w 1429564"/>
                <a:gd name="connsiteY6" fmla="*/ 410613 h 827332"/>
                <a:gd name="connsiteX7" fmla="*/ 1417088 w 1429564"/>
                <a:gd name="connsiteY7" fmla="*/ 674932 h 827332"/>
                <a:gd name="connsiteX0" fmla="*/ 1417088 w 1429564"/>
                <a:gd name="connsiteY0" fmla="*/ 674932 h 827332"/>
                <a:gd name="connsiteX1" fmla="*/ 1414707 w 1429564"/>
                <a:gd name="connsiteY1" fmla="*/ 103432 h 827332"/>
                <a:gd name="connsiteX2" fmla="*/ 559838 w 1429564"/>
                <a:gd name="connsiteY2" fmla="*/ 39138 h 827332"/>
                <a:gd name="connsiteX3" fmla="*/ 26438 w 1429564"/>
                <a:gd name="connsiteY3" fmla="*/ 508244 h 827332"/>
                <a:gd name="connsiteX4" fmla="*/ 12151 w 1429564"/>
                <a:gd name="connsiteY4" fmla="*/ 827332 h 827332"/>
                <a:gd name="connsiteX5" fmla="*/ 295519 w 1429564"/>
                <a:gd name="connsiteY5" fmla="*/ 477288 h 827332"/>
                <a:gd name="connsiteX6" fmla="*/ 833682 w 1429564"/>
                <a:gd name="connsiteY6" fmla="*/ 410613 h 827332"/>
                <a:gd name="connsiteX7" fmla="*/ 1417088 w 1429564"/>
                <a:gd name="connsiteY7" fmla="*/ 674932 h 827332"/>
                <a:gd name="connsiteX0" fmla="*/ 1417088 w 1428573"/>
                <a:gd name="connsiteY0" fmla="*/ 674932 h 827332"/>
                <a:gd name="connsiteX1" fmla="*/ 1414707 w 1428573"/>
                <a:gd name="connsiteY1" fmla="*/ 103432 h 827332"/>
                <a:gd name="connsiteX2" fmla="*/ 559838 w 1428573"/>
                <a:gd name="connsiteY2" fmla="*/ 39138 h 827332"/>
                <a:gd name="connsiteX3" fmla="*/ 26438 w 1428573"/>
                <a:gd name="connsiteY3" fmla="*/ 508244 h 827332"/>
                <a:gd name="connsiteX4" fmla="*/ 12151 w 1428573"/>
                <a:gd name="connsiteY4" fmla="*/ 827332 h 827332"/>
                <a:gd name="connsiteX5" fmla="*/ 295519 w 1428573"/>
                <a:gd name="connsiteY5" fmla="*/ 477288 h 827332"/>
                <a:gd name="connsiteX6" fmla="*/ 833682 w 1428573"/>
                <a:gd name="connsiteY6" fmla="*/ 410613 h 827332"/>
                <a:gd name="connsiteX7" fmla="*/ 1417088 w 1428573"/>
                <a:gd name="connsiteY7" fmla="*/ 674932 h 827332"/>
                <a:gd name="connsiteX0" fmla="*/ 1417088 w 1428573"/>
                <a:gd name="connsiteY0" fmla="*/ 674932 h 827332"/>
                <a:gd name="connsiteX1" fmla="*/ 1414707 w 1428573"/>
                <a:gd name="connsiteY1" fmla="*/ 103432 h 827332"/>
                <a:gd name="connsiteX2" fmla="*/ 559838 w 1428573"/>
                <a:gd name="connsiteY2" fmla="*/ 39138 h 827332"/>
                <a:gd name="connsiteX3" fmla="*/ 26438 w 1428573"/>
                <a:gd name="connsiteY3" fmla="*/ 508244 h 827332"/>
                <a:gd name="connsiteX4" fmla="*/ 12151 w 1428573"/>
                <a:gd name="connsiteY4" fmla="*/ 827332 h 827332"/>
                <a:gd name="connsiteX5" fmla="*/ 295519 w 1428573"/>
                <a:gd name="connsiteY5" fmla="*/ 477288 h 827332"/>
                <a:gd name="connsiteX6" fmla="*/ 833682 w 1428573"/>
                <a:gd name="connsiteY6" fmla="*/ 410613 h 827332"/>
                <a:gd name="connsiteX7" fmla="*/ 1417088 w 1428573"/>
                <a:gd name="connsiteY7" fmla="*/ 674932 h 827332"/>
                <a:gd name="connsiteX0" fmla="*/ 1420075 w 1431560"/>
                <a:gd name="connsiteY0" fmla="*/ 674932 h 827332"/>
                <a:gd name="connsiteX1" fmla="*/ 1417694 w 1431560"/>
                <a:gd name="connsiteY1" fmla="*/ 103432 h 827332"/>
                <a:gd name="connsiteX2" fmla="*/ 562825 w 1431560"/>
                <a:gd name="connsiteY2" fmla="*/ 39138 h 827332"/>
                <a:gd name="connsiteX3" fmla="*/ 29425 w 1431560"/>
                <a:gd name="connsiteY3" fmla="*/ 508244 h 827332"/>
                <a:gd name="connsiteX4" fmla="*/ 15138 w 1431560"/>
                <a:gd name="connsiteY4" fmla="*/ 827332 h 827332"/>
                <a:gd name="connsiteX5" fmla="*/ 298506 w 1431560"/>
                <a:gd name="connsiteY5" fmla="*/ 477288 h 827332"/>
                <a:gd name="connsiteX6" fmla="*/ 836669 w 1431560"/>
                <a:gd name="connsiteY6" fmla="*/ 410613 h 827332"/>
                <a:gd name="connsiteX7" fmla="*/ 1420075 w 1431560"/>
                <a:gd name="connsiteY7" fmla="*/ 674932 h 827332"/>
                <a:gd name="connsiteX0" fmla="*/ 1420075 w 1431560"/>
                <a:gd name="connsiteY0" fmla="*/ 674932 h 827332"/>
                <a:gd name="connsiteX1" fmla="*/ 1417694 w 1431560"/>
                <a:gd name="connsiteY1" fmla="*/ 103432 h 827332"/>
                <a:gd name="connsiteX2" fmla="*/ 562825 w 1431560"/>
                <a:gd name="connsiteY2" fmla="*/ 39138 h 827332"/>
                <a:gd name="connsiteX3" fmla="*/ 29425 w 1431560"/>
                <a:gd name="connsiteY3" fmla="*/ 508244 h 827332"/>
                <a:gd name="connsiteX4" fmla="*/ 15138 w 1431560"/>
                <a:gd name="connsiteY4" fmla="*/ 827332 h 827332"/>
                <a:gd name="connsiteX5" fmla="*/ 298506 w 1431560"/>
                <a:gd name="connsiteY5" fmla="*/ 477288 h 827332"/>
                <a:gd name="connsiteX6" fmla="*/ 836669 w 1431560"/>
                <a:gd name="connsiteY6" fmla="*/ 410613 h 827332"/>
                <a:gd name="connsiteX7" fmla="*/ 1420075 w 1431560"/>
                <a:gd name="connsiteY7" fmla="*/ 674932 h 827332"/>
                <a:gd name="connsiteX0" fmla="*/ 1417089 w 1428574"/>
                <a:gd name="connsiteY0" fmla="*/ 674932 h 827332"/>
                <a:gd name="connsiteX1" fmla="*/ 1414708 w 1428574"/>
                <a:gd name="connsiteY1" fmla="*/ 103432 h 827332"/>
                <a:gd name="connsiteX2" fmla="*/ 559839 w 1428574"/>
                <a:gd name="connsiteY2" fmla="*/ 39138 h 827332"/>
                <a:gd name="connsiteX3" fmla="*/ 26439 w 1428574"/>
                <a:gd name="connsiteY3" fmla="*/ 508244 h 827332"/>
                <a:gd name="connsiteX4" fmla="*/ 12152 w 1428574"/>
                <a:gd name="connsiteY4" fmla="*/ 827332 h 827332"/>
                <a:gd name="connsiteX5" fmla="*/ 295520 w 1428574"/>
                <a:gd name="connsiteY5" fmla="*/ 477288 h 827332"/>
                <a:gd name="connsiteX6" fmla="*/ 833683 w 1428574"/>
                <a:gd name="connsiteY6" fmla="*/ 410613 h 827332"/>
                <a:gd name="connsiteX7" fmla="*/ 1417089 w 1428574"/>
                <a:gd name="connsiteY7" fmla="*/ 674932 h 827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28574" h="827332">
                  <a:moveTo>
                    <a:pt x="1417089" y="674932"/>
                  </a:moveTo>
                  <a:cubicBezTo>
                    <a:pt x="1435346" y="448714"/>
                    <a:pt x="1429789" y="289169"/>
                    <a:pt x="1414708" y="103432"/>
                  </a:cubicBezTo>
                  <a:cubicBezTo>
                    <a:pt x="1129752" y="1038"/>
                    <a:pt x="880514" y="-34681"/>
                    <a:pt x="559839" y="39138"/>
                  </a:cubicBezTo>
                  <a:cubicBezTo>
                    <a:pt x="324968" y="93205"/>
                    <a:pt x="103590" y="255487"/>
                    <a:pt x="26439" y="508244"/>
                  </a:cubicBezTo>
                  <a:cubicBezTo>
                    <a:pt x="-7732" y="620193"/>
                    <a:pt x="-4518" y="728112"/>
                    <a:pt x="12152" y="827332"/>
                  </a:cubicBezTo>
                  <a:cubicBezTo>
                    <a:pt x="28424" y="650723"/>
                    <a:pt x="130471" y="560134"/>
                    <a:pt x="295520" y="477288"/>
                  </a:cubicBezTo>
                  <a:cubicBezTo>
                    <a:pt x="460084" y="394686"/>
                    <a:pt x="654458" y="387116"/>
                    <a:pt x="833683" y="410613"/>
                  </a:cubicBezTo>
                  <a:cubicBezTo>
                    <a:pt x="1142452" y="451094"/>
                    <a:pt x="1298820" y="584445"/>
                    <a:pt x="1417089" y="674932"/>
                  </a:cubicBezTo>
                  <a:close/>
                </a:path>
              </a:pathLst>
            </a:custGeom>
            <a:solidFill>
              <a:srgbClr val="0F238D"/>
            </a:solidFill>
            <a:ln w="127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noProof="0">
                <a:solidFill>
                  <a:schemeClr val="accent1"/>
                </a:solidFill>
              </a:endParaRPr>
            </a:p>
          </p:txBody>
        </p:sp>
      </p:grpSp>
      <p:pic>
        <p:nvPicPr>
          <p:cNvPr id="33" name="Picture 15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371475" cy="5143500"/>
          </a:xfrm>
          <a:prstGeom prst="rect">
            <a:avLst/>
          </a:prstGeom>
        </p:spPr>
      </p:pic>
      <p:sp>
        <p:nvSpPr>
          <p:cNvPr id="3" name="MSIPCM1dc244c39a26c5f5010db71e" descr="{&quot;HashCode&quot;:820494205,&quot;Placement&quot;:&quot;Footer&quot;,&quot;Top&quot;:389.104645,&quot;Left&quot;:665.3905,&quot;SlideWidth&quot;:720,&quot;SlideHeight&quot;:405}">
            <a:extLst>
              <a:ext uri="{FF2B5EF4-FFF2-40B4-BE49-F238E27FC236}">
                <a16:creationId xmlns:a16="http://schemas.microsoft.com/office/drawing/2014/main" id="{799E9027-8840-4563-8578-035BB6E4B66B}"/>
              </a:ext>
            </a:extLst>
          </p:cNvPr>
          <p:cNvSpPr txBox="1"/>
          <p:nvPr userDrawn="1"/>
        </p:nvSpPr>
        <p:spPr>
          <a:xfrm>
            <a:off x="8450459" y="4941629"/>
            <a:ext cx="693541" cy="20187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ct val="0"/>
              </a:spcBef>
              <a:spcAft>
                <a:spcPts val="0"/>
              </a:spcAft>
            </a:pPr>
            <a:r>
              <a:rPr lang="en-US" sz="700">
                <a:solidFill>
                  <a:srgbClr val="0F238C"/>
                </a:solidFill>
                <a:latin typeface="Arial" panose="020B0604020202020204" pitchFamily="34" charset="0"/>
              </a:rPr>
              <a:t>Confidential</a:t>
            </a:r>
            <a:endParaRPr lang="en-US" sz="700" err="1">
              <a:solidFill>
                <a:srgbClr val="0F238C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99054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7" r:id="rId1"/>
    <p:sldLayoutId id="2147483798" r:id="rId2"/>
    <p:sldLayoutId id="2147483800" r:id="rId3"/>
    <p:sldLayoutId id="2147483801" r:id="rId4"/>
    <p:sldLayoutId id="2147483802" r:id="rId5"/>
    <p:sldLayoutId id="2147483803" r:id="rId6"/>
  </p:sldLayoutIdLst>
  <p:hf hd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SIPCM03354e949de032c2452e3d12" descr="{&quot;HashCode&quot;:820494205,&quot;Placement&quot;:&quot;Footer&quot;,&quot;Top&quot;:389.104645,&quot;Left&quot;:665.3905,&quot;SlideWidth&quot;:720,&quot;SlideHeight&quot;:405}">
            <a:extLst>
              <a:ext uri="{FF2B5EF4-FFF2-40B4-BE49-F238E27FC236}">
                <a16:creationId xmlns:a16="http://schemas.microsoft.com/office/drawing/2014/main" id="{261086FE-97E5-419F-8A10-18DBA825A7FC}"/>
              </a:ext>
            </a:extLst>
          </p:cNvPr>
          <p:cNvSpPr txBox="1"/>
          <p:nvPr userDrawn="1"/>
        </p:nvSpPr>
        <p:spPr>
          <a:xfrm>
            <a:off x="8450459" y="4941629"/>
            <a:ext cx="693541" cy="20187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ct val="0"/>
              </a:spcBef>
              <a:spcAft>
                <a:spcPts val="0"/>
              </a:spcAft>
            </a:pPr>
            <a:r>
              <a:rPr lang="en-US" sz="700">
                <a:solidFill>
                  <a:srgbClr val="0F238C"/>
                </a:solidFill>
                <a:latin typeface="Arial" panose="020B0604020202020204" pitchFamily="34" charset="0"/>
              </a:rPr>
              <a:t>Confidential</a:t>
            </a:r>
            <a:endParaRPr lang="en-US" sz="700" err="1">
              <a:solidFill>
                <a:srgbClr val="0F238C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5363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786" r:id="rId2"/>
    <p:sldLayoutId id="2147483789" r:id="rId3"/>
    <p:sldLayoutId id="2147483793" r:id="rId4"/>
    <p:sldLayoutId id="2147483804" r:id="rId5"/>
  </p:sldLayoutIdLst>
  <p:hf hd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" Target="slide4.xml"/><Relationship Id="rId2" Type="http://schemas.openxmlformats.org/officeDocument/2006/relationships/slide" Target="slide3.xml"/><Relationship Id="rId1" Type="http://schemas.openxmlformats.org/officeDocument/2006/relationships/slideLayout" Target="../slideLayouts/slideLayout2.xml"/><Relationship Id="rId5" Type="http://schemas.openxmlformats.org/officeDocument/2006/relationships/slide" Target="slide16.xml"/><Relationship Id="rId4" Type="http://schemas.openxmlformats.org/officeDocument/2006/relationships/slide" Target="slide9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slide" Target="slide33.xml"/><Relationship Id="rId3" Type="http://schemas.openxmlformats.org/officeDocument/2006/relationships/slide" Target="slide24.xml"/><Relationship Id="rId7" Type="http://schemas.openxmlformats.org/officeDocument/2006/relationships/slide" Target="slide31.xml"/><Relationship Id="rId2" Type="http://schemas.openxmlformats.org/officeDocument/2006/relationships/slide" Target="slide26.xml"/><Relationship Id="rId1" Type="http://schemas.openxmlformats.org/officeDocument/2006/relationships/slideLayout" Target="../slideLayouts/slideLayout2.xml"/><Relationship Id="rId6" Type="http://schemas.openxmlformats.org/officeDocument/2006/relationships/slide" Target="slide23.xml"/><Relationship Id="rId5" Type="http://schemas.openxmlformats.org/officeDocument/2006/relationships/slide" Target="slide28.xml"/><Relationship Id="rId4" Type="http://schemas.openxmlformats.org/officeDocument/2006/relationships/slide" Target="slide27.xml"/><Relationship Id="rId9" Type="http://schemas.openxmlformats.org/officeDocument/2006/relationships/slide" Target="slide3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11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0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hyperlink" Target="https://www.itread01.com/content/1510590030.html" TargetMode="Externa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6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3.wmf"/><Relationship Id="rId4" Type="http://schemas.openxmlformats.org/officeDocument/2006/relationships/package" Target="../embeddings/Microsoft_PowerPoint_Presentation.pptx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Relationship Id="rId6" Type="http://schemas.microsoft.com/office/2007/relationships/hdphoto" Target="../media/hdphoto2.wdp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7D1FAF7-1D5F-4037-95F9-B345E20BD0A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RLKM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A6FD4A-45D5-4F56-95AA-5E52DCEDCE8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BD2AFFB-3A0B-4C56-8B39-2360DCF783C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86000" y="3148223"/>
            <a:ext cx="7920000" cy="307777"/>
          </a:xfrm>
        </p:spPr>
        <p:txBody>
          <a:bodyPr/>
          <a:lstStyle/>
          <a:p>
            <a:r>
              <a:rPr lang="en-US" dirty="0"/>
              <a:t>Introduction of work in ASML	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2B0BF7F-0C0E-4069-BE48-D478D7AA96B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err="1"/>
              <a:t>YieldStar</a:t>
            </a:r>
            <a:r>
              <a:rPr lang="en-US" dirty="0"/>
              <a:t> SW</a:t>
            </a:r>
          </a:p>
        </p:txBody>
      </p:sp>
    </p:spTree>
    <p:extLst>
      <p:ext uri="{BB962C8B-B14F-4D97-AF65-F5344CB8AC3E}">
        <p14:creationId xmlns:p14="http://schemas.microsoft.com/office/powerpoint/2010/main" val="29372581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E909DD6-6DBF-4676-9F3C-3C6524212E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&lt;Date&gt;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7D97310-FB1E-4D26-8FBA-20E5766E67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noProof="0"/>
              <a:t>Slide </a:t>
            </a:r>
            <a:fld id="{1D9B13CD-33A0-446D-8703-F89F9F109F54}" type="slidenum">
              <a:rPr lang="en-US" noProof="0" smtClean="0"/>
              <a:pPr/>
              <a:t>10</a:t>
            </a:fld>
            <a:endParaRPr lang="en-US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93A7E1E-48AD-4A8C-A4F1-0C0996DBA5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M tasks overview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B52247D-6ADF-4EB8-B470-83F26F7A0D8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615" y="539272"/>
            <a:ext cx="7610400" cy="378000"/>
          </a:xfrm>
        </p:spPr>
        <p:txBody>
          <a:bodyPr/>
          <a:lstStyle/>
          <a:p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248CEDD-46DF-4726-9E66-D6DAEFF2762B}"/>
              </a:ext>
            </a:extLst>
          </p:cNvPr>
          <p:cNvGrpSpPr/>
          <p:nvPr/>
        </p:nvGrpSpPr>
        <p:grpSpPr>
          <a:xfrm>
            <a:off x="1573453" y="917272"/>
            <a:ext cx="5536422" cy="4020110"/>
            <a:chOff x="1846503" y="979461"/>
            <a:chExt cx="5536422" cy="4020110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08AEB2E3-828D-4010-8628-D8472298310E}"/>
                </a:ext>
              </a:extLst>
            </p:cNvPr>
            <p:cNvGrpSpPr/>
            <p:nvPr/>
          </p:nvGrpSpPr>
          <p:grpSpPr>
            <a:xfrm>
              <a:off x="3162936" y="4450125"/>
              <a:ext cx="2685732" cy="549446"/>
              <a:chOff x="583447" y="4486054"/>
              <a:chExt cx="2685732" cy="549446"/>
            </a:xfrm>
          </p:grpSpPr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F4A057A0-594A-46FE-B6E5-6E1E52844108}"/>
                  </a:ext>
                </a:extLst>
              </p:cNvPr>
              <p:cNvSpPr/>
              <p:nvPr/>
            </p:nvSpPr>
            <p:spPr>
              <a:xfrm>
                <a:off x="583447" y="4489485"/>
                <a:ext cx="824488" cy="546015"/>
              </a:xfrm>
              <a:prstGeom prst="rect">
                <a:avLst/>
              </a:prstGeom>
              <a:ln/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050" dirty="0"/>
                  <a:t>existing calibration </a:t>
                </a:r>
              </a:p>
              <a:p>
                <a:pPr algn="ctr"/>
                <a:r>
                  <a:rPr lang="en-US" sz="1050" dirty="0"/>
                  <a:t>&lt; SP18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8C3D5974-065F-4529-9716-7A057A5E794E}"/>
                  </a:ext>
                </a:extLst>
              </p:cNvPr>
              <p:cNvSpPr/>
              <p:nvPr/>
            </p:nvSpPr>
            <p:spPr>
              <a:xfrm>
                <a:off x="2444691" y="4489485"/>
                <a:ext cx="824488" cy="546015"/>
              </a:xfrm>
              <a:prstGeom prst="rect">
                <a:avLst/>
              </a:prstGeom>
              <a:ln/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050" dirty="0"/>
                  <a:t>performance task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7231A76F-873F-4093-B555-20C107022545}"/>
                  </a:ext>
                </a:extLst>
              </p:cNvPr>
              <p:cNvSpPr/>
              <p:nvPr/>
            </p:nvSpPr>
            <p:spPr>
              <a:xfrm>
                <a:off x="1525304" y="4489485"/>
                <a:ext cx="824488" cy="546015"/>
              </a:xfrm>
              <a:prstGeom prst="rect">
                <a:avLst/>
              </a:prstGeom>
              <a:ln/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050" dirty="0"/>
                  <a:t>new calibration</a:t>
                </a: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2FB07C2D-0A6D-4CF5-85F4-1AB2BDF4A92C}"/>
                  </a:ext>
                </a:extLst>
              </p:cNvPr>
              <p:cNvSpPr/>
              <p:nvPr/>
            </p:nvSpPr>
            <p:spPr>
              <a:xfrm>
                <a:off x="1294823" y="4486054"/>
                <a:ext cx="111198" cy="12165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rgbClr val="081765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8CAC426-5950-45CE-8147-ACA7AA646FE5}"/>
                </a:ext>
              </a:extLst>
            </p:cNvPr>
            <p:cNvSpPr/>
            <p:nvPr/>
          </p:nvSpPr>
          <p:spPr>
            <a:xfrm>
              <a:off x="5100504" y="1351418"/>
              <a:ext cx="993268" cy="463296"/>
            </a:xfrm>
            <a:prstGeom prst="rect">
              <a:avLst/>
            </a:prstGeom>
            <a:ln/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000" dirty="0"/>
                <a:t>Task 605</a:t>
              </a:r>
            </a:p>
            <a:p>
              <a:pPr algn="ctr"/>
              <a:r>
                <a:rPr lang="en-US" sz="1000" dirty="0"/>
                <a:t>WL home offset</a:t>
              </a: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248746AA-757D-4F9D-83C2-F9CF040F40EF}"/>
                </a:ext>
              </a:extLst>
            </p:cNvPr>
            <p:cNvSpPr/>
            <p:nvPr/>
          </p:nvSpPr>
          <p:spPr>
            <a:xfrm>
              <a:off x="5100504" y="1961401"/>
              <a:ext cx="993268" cy="463296"/>
            </a:xfrm>
            <a:prstGeom prst="rect">
              <a:avLst/>
            </a:prstGeom>
            <a:ln/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000" dirty="0"/>
                <a:t>Task 602</a:t>
              </a:r>
            </a:p>
            <a:p>
              <a:pPr algn="ctr"/>
              <a:r>
                <a:rPr lang="en-US" sz="1000" dirty="0" err="1"/>
                <a:t>Enc</a:t>
              </a:r>
              <a:r>
                <a:rPr lang="en-US" sz="1000" dirty="0"/>
                <a:t> </a:t>
              </a:r>
              <a:r>
                <a:rPr lang="en-US" sz="1000" dirty="0" err="1"/>
                <a:t>Pos</a:t>
              </a:r>
              <a:r>
                <a:rPr lang="en-US" sz="1000" dirty="0"/>
                <a:t> to WL</a:t>
              </a: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EE991480-72A5-4F65-9F99-868B647DA3EE}"/>
                </a:ext>
              </a:extLst>
            </p:cNvPr>
            <p:cNvSpPr/>
            <p:nvPr/>
          </p:nvSpPr>
          <p:spPr>
            <a:xfrm>
              <a:off x="6290640" y="2702191"/>
              <a:ext cx="982600" cy="463296"/>
            </a:xfrm>
            <a:prstGeom prst="rect">
              <a:avLst/>
            </a:prstGeom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000" dirty="0"/>
                <a:t>Task 641</a:t>
              </a:r>
            </a:p>
            <a:p>
              <a:pPr algn="ctr"/>
              <a:r>
                <a:rPr lang="en-US" sz="1000" dirty="0"/>
                <a:t>ND filter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6833D703-E770-4A4B-ACCA-1845F3D9C13F}"/>
                </a:ext>
              </a:extLst>
            </p:cNvPr>
            <p:cNvSpPr/>
            <p:nvPr/>
          </p:nvSpPr>
          <p:spPr>
            <a:xfrm>
              <a:off x="5100504" y="2702191"/>
              <a:ext cx="993268" cy="463296"/>
            </a:xfrm>
            <a:prstGeom prst="rect">
              <a:avLst/>
            </a:prstGeom>
            <a:ln/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000" dirty="0"/>
                <a:t>Task 601</a:t>
              </a:r>
            </a:p>
            <a:p>
              <a:pPr algn="ctr"/>
              <a:r>
                <a:rPr lang="en-US" sz="1000" dirty="0"/>
                <a:t>ND filter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EF35E128-9449-4FF5-B8DB-5BE82A81BFD9}"/>
                </a:ext>
              </a:extLst>
            </p:cNvPr>
            <p:cNvSpPr/>
            <p:nvPr/>
          </p:nvSpPr>
          <p:spPr>
            <a:xfrm>
              <a:off x="5100504" y="3394803"/>
              <a:ext cx="993268" cy="463296"/>
            </a:xfrm>
            <a:prstGeom prst="rect">
              <a:avLst/>
            </a:prstGeom>
            <a:ln/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000" dirty="0"/>
                <a:t>Task 603</a:t>
              </a:r>
            </a:p>
            <a:p>
              <a:pPr algn="ctr"/>
              <a:r>
                <a:rPr lang="en-US" sz="1000" dirty="0"/>
                <a:t>WL offset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73ECD0BC-118E-41D8-B994-41C4D0ECD5E5}"/>
                </a:ext>
              </a:extLst>
            </p:cNvPr>
            <p:cNvSpPr/>
            <p:nvPr/>
          </p:nvSpPr>
          <p:spPr>
            <a:xfrm>
              <a:off x="6290639" y="3800589"/>
              <a:ext cx="982601" cy="463296"/>
            </a:xfrm>
            <a:prstGeom prst="rect">
              <a:avLst/>
            </a:prstGeom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000" dirty="0"/>
                <a:t>Task 630</a:t>
              </a:r>
            </a:p>
            <a:p>
              <a:pPr algn="ctr"/>
              <a:r>
                <a:rPr lang="en-US" sz="1000" dirty="0"/>
                <a:t>CLM spectral</a:t>
              </a: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D308F490-EC9C-4F78-95BA-CEDC707CC484}"/>
                </a:ext>
              </a:extLst>
            </p:cNvPr>
            <p:cNvSpPr/>
            <p:nvPr/>
          </p:nvSpPr>
          <p:spPr>
            <a:xfrm>
              <a:off x="6290640" y="1961401"/>
              <a:ext cx="993268" cy="463296"/>
            </a:xfrm>
            <a:prstGeom prst="rect">
              <a:avLst/>
            </a:prstGeom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000" dirty="0"/>
                <a:t>Task 625</a:t>
              </a:r>
            </a:p>
            <a:p>
              <a:pPr algn="ctr"/>
              <a:r>
                <a:rPr lang="en-US" sz="1000" dirty="0" err="1"/>
                <a:t>Enc</a:t>
              </a:r>
              <a:r>
                <a:rPr lang="en-US" sz="1000" dirty="0"/>
                <a:t> </a:t>
              </a:r>
              <a:r>
                <a:rPr lang="en-US" sz="1000" dirty="0" err="1"/>
                <a:t>Pos</a:t>
              </a:r>
              <a:r>
                <a:rPr lang="en-US" sz="1000" dirty="0"/>
                <a:t> to WL</a:t>
              </a:r>
            </a:p>
          </p:txBody>
        </p:sp>
        <p:cxnSp>
          <p:nvCxnSpPr>
            <p:cNvPr id="43" name="Straight Arrow Connector 42">
              <a:extLst>
                <a:ext uri="{FF2B5EF4-FFF2-40B4-BE49-F238E27FC236}">
                  <a16:creationId xmlns:a16="http://schemas.microsoft.com/office/drawing/2014/main" id="{73F9C68F-0F37-4EC2-B8FC-81B52BAE4927}"/>
                </a:ext>
              </a:extLst>
            </p:cNvPr>
            <p:cNvCxnSpPr>
              <a:cxnSpLocks/>
              <a:stCxn id="31" idx="2"/>
              <a:endCxn id="32" idx="0"/>
            </p:cNvCxnSpPr>
            <p:nvPr/>
          </p:nvCxnSpPr>
          <p:spPr>
            <a:xfrm>
              <a:off x="5597138" y="1814714"/>
              <a:ext cx="0" cy="146687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Arrow Connector 43">
              <a:extLst>
                <a:ext uri="{FF2B5EF4-FFF2-40B4-BE49-F238E27FC236}">
                  <a16:creationId xmlns:a16="http://schemas.microsoft.com/office/drawing/2014/main" id="{8CF52CA8-AC3E-4A0A-96EF-0E07F7B9D07F}"/>
                </a:ext>
              </a:extLst>
            </p:cNvPr>
            <p:cNvCxnSpPr>
              <a:cxnSpLocks/>
              <a:stCxn id="32" idx="2"/>
              <a:endCxn id="34" idx="0"/>
            </p:cNvCxnSpPr>
            <p:nvPr/>
          </p:nvCxnSpPr>
          <p:spPr>
            <a:xfrm>
              <a:off x="5597138" y="2424697"/>
              <a:ext cx="0" cy="277494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Arrow Connector 44">
              <a:extLst>
                <a:ext uri="{FF2B5EF4-FFF2-40B4-BE49-F238E27FC236}">
                  <a16:creationId xmlns:a16="http://schemas.microsoft.com/office/drawing/2014/main" id="{E4CB51DE-91B2-471A-8AC3-258291E19848}"/>
                </a:ext>
              </a:extLst>
            </p:cNvPr>
            <p:cNvCxnSpPr>
              <a:cxnSpLocks/>
              <a:stCxn id="34" idx="2"/>
              <a:endCxn id="35" idx="0"/>
            </p:cNvCxnSpPr>
            <p:nvPr/>
          </p:nvCxnSpPr>
          <p:spPr>
            <a:xfrm>
              <a:off x="5597138" y="3165487"/>
              <a:ext cx="0" cy="229316"/>
            </a:xfrm>
            <a:prstGeom prst="straightConnector1">
              <a:avLst/>
            </a:prstGeom>
            <a:ln w="9525">
              <a:solidFill>
                <a:schemeClr val="tx1"/>
              </a:solidFill>
              <a:prstDash val="soli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Arrow Connector 45">
              <a:extLst>
                <a:ext uri="{FF2B5EF4-FFF2-40B4-BE49-F238E27FC236}">
                  <a16:creationId xmlns:a16="http://schemas.microsoft.com/office/drawing/2014/main" id="{544F042F-DEB4-49E3-AD3A-AE6D731EA4DA}"/>
                </a:ext>
              </a:extLst>
            </p:cNvPr>
            <p:cNvCxnSpPr>
              <a:cxnSpLocks/>
              <a:stCxn id="32" idx="3"/>
              <a:endCxn id="37" idx="1"/>
            </p:cNvCxnSpPr>
            <p:nvPr/>
          </p:nvCxnSpPr>
          <p:spPr>
            <a:xfrm>
              <a:off x="6093772" y="2193049"/>
              <a:ext cx="196868" cy="0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Arrow Connector 46">
              <a:extLst>
                <a:ext uri="{FF2B5EF4-FFF2-40B4-BE49-F238E27FC236}">
                  <a16:creationId xmlns:a16="http://schemas.microsoft.com/office/drawing/2014/main" id="{9F36BF32-7245-4ABE-9F91-88436F2F9F1A}"/>
                </a:ext>
              </a:extLst>
            </p:cNvPr>
            <p:cNvCxnSpPr>
              <a:cxnSpLocks/>
              <a:stCxn id="34" idx="3"/>
              <a:endCxn id="33" idx="1"/>
            </p:cNvCxnSpPr>
            <p:nvPr/>
          </p:nvCxnSpPr>
          <p:spPr>
            <a:xfrm>
              <a:off x="6093772" y="2933839"/>
              <a:ext cx="196868" cy="0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Connector: Elbow 47">
              <a:extLst>
                <a:ext uri="{FF2B5EF4-FFF2-40B4-BE49-F238E27FC236}">
                  <a16:creationId xmlns:a16="http://schemas.microsoft.com/office/drawing/2014/main" id="{C3AD700F-9E9C-434A-829B-42B7C1A418B6}"/>
                </a:ext>
              </a:extLst>
            </p:cNvPr>
            <p:cNvCxnSpPr>
              <a:cxnSpLocks/>
              <a:stCxn id="35" idx="2"/>
              <a:endCxn id="36" idx="1"/>
            </p:cNvCxnSpPr>
            <p:nvPr/>
          </p:nvCxnSpPr>
          <p:spPr>
            <a:xfrm rot="16200000" flipH="1">
              <a:off x="5856819" y="3598417"/>
              <a:ext cx="174138" cy="693501"/>
            </a:xfrm>
            <a:prstGeom prst="bentConnector2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026596B2-1780-4FDB-833D-D07F9833D295}"/>
                </a:ext>
              </a:extLst>
            </p:cNvPr>
            <p:cNvSpPr txBox="1"/>
            <p:nvPr/>
          </p:nvSpPr>
          <p:spPr>
            <a:xfrm>
              <a:off x="5167660" y="979461"/>
              <a:ext cx="858953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Aft>
                  <a:spcPts val="900"/>
                </a:spcAft>
              </a:pPr>
              <a:r>
                <a:rPr lang="en-US" sz="1400" dirty="0">
                  <a:solidFill>
                    <a:schemeClr val="tx2"/>
                  </a:solidFill>
                  <a:latin typeface="+mn-lt"/>
                </a:rPr>
                <a:t>CL Module</a:t>
              </a: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E4782A99-E712-4C83-B886-AEAEAC1B427A}"/>
                </a:ext>
              </a:extLst>
            </p:cNvPr>
            <p:cNvSpPr/>
            <p:nvPr/>
          </p:nvSpPr>
          <p:spPr>
            <a:xfrm>
              <a:off x="4013185" y="1351418"/>
              <a:ext cx="833641" cy="463296"/>
            </a:xfrm>
            <a:prstGeom prst="rect">
              <a:avLst/>
            </a:prstGeom>
            <a:ln/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000" dirty="0"/>
                <a:t>Task 600</a:t>
              </a:r>
            </a:p>
            <a:p>
              <a:pPr algn="ctr"/>
              <a:r>
                <a:rPr lang="en-US" sz="1000" dirty="0"/>
                <a:t>WL coarse</a:t>
              </a: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D105D92B-C3AC-46F3-9A1D-7390DB5D829C}"/>
                </a:ext>
              </a:extLst>
            </p:cNvPr>
            <p:cNvSpPr/>
            <p:nvPr/>
          </p:nvSpPr>
          <p:spPr>
            <a:xfrm>
              <a:off x="1847811" y="1351418"/>
              <a:ext cx="833641" cy="46329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000" dirty="0"/>
                <a:t>Task 623</a:t>
              </a:r>
            </a:p>
            <a:p>
              <a:pPr algn="ctr"/>
              <a:r>
                <a:rPr lang="en-US" sz="1000" dirty="0"/>
                <a:t>DC Offset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45C8D4EE-91F7-429B-BD0F-F466D23E3F87}"/>
                </a:ext>
              </a:extLst>
            </p:cNvPr>
            <p:cNvSpPr/>
            <p:nvPr/>
          </p:nvSpPr>
          <p:spPr>
            <a:xfrm>
              <a:off x="2947809" y="1351418"/>
              <a:ext cx="833642" cy="463296"/>
            </a:xfrm>
            <a:prstGeom prst="rect">
              <a:avLst/>
            </a:prstGeom>
            <a:ln/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000" dirty="0"/>
                <a:t>Task 604</a:t>
              </a:r>
            </a:p>
            <a:p>
              <a:pPr algn="ctr"/>
              <a:r>
                <a:rPr lang="en-US" sz="1000" dirty="0"/>
                <a:t>DC offset</a:t>
              </a: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D5EC29D7-1B0D-4409-9B40-B66FBF78D97D}"/>
                </a:ext>
              </a:extLst>
            </p:cNvPr>
            <p:cNvSpPr/>
            <p:nvPr/>
          </p:nvSpPr>
          <p:spPr>
            <a:xfrm>
              <a:off x="2442119" y="1961401"/>
              <a:ext cx="833642" cy="463296"/>
            </a:xfrm>
            <a:prstGeom prst="rect">
              <a:avLst/>
            </a:prstGeom>
            <a:ln/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000" dirty="0"/>
                <a:t>Task 611</a:t>
              </a:r>
            </a:p>
            <a:p>
              <a:pPr algn="ctr"/>
              <a:r>
                <a:rPr lang="en-US" sz="1000" dirty="0"/>
                <a:t>Non-linearity</a:t>
              </a: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9FFEBE97-F8A7-4F02-B3FD-CAB807486057}"/>
                </a:ext>
              </a:extLst>
            </p:cNvPr>
            <p:cNvSpPr/>
            <p:nvPr/>
          </p:nvSpPr>
          <p:spPr>
            <a:xfrm>
              <a:off x="3454244" y="1961401"/>
              <a:ext cx="830571" cy="463296"/>
            </a:xfrm>
            <a:prstGeom prst="rect">
              <a:avLst/>
            </a:prstGeom>
            <a:ln/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000" dirty="0"/>
                <a:t>Task 612</a:t>
              </a:r>
            </a:p>
            <a:p>
              <a:pPr algn="ctr"/>
              <a:r>
                <a:rPr lang="en-US" sz="1000" dirty="0"/>
                <a:t>Irradiance</a:t>
              </a: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5BA884EC-A451-483E-AA6E-53E5AEEB4E7B}"/>
                </a:ext>
              </a:extLst>
            </p:cNvPr>
            <p:cNvSpPr/>
            <p:nvPr/>
          </p:nvSpPr>
          <p:spPr>
            <a:xfrm>
              <a:off x="2941711" y="2702191"/>
              <a:ext cx="833643" cy="463296"/>
            </a:xfrm>
            <a:prstGeom prst="rect">
              <a:avLst/>
            </a:prstGeom>
            <a:ln/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000" dirty="0"/>
                <a:t>Task 619</a:t>
              </a:r>
            </a:p>
            <a:p>
              <a:pPr algn="ctr"/>
              <a:r>
                <a:rPr lang="en-US" sz="1000" dirty="0"/>
                <a:t>WL fine</a:t>
              </a: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2E9497D0-4A72-4450-AC37-15BA560F7ED1}"/>
                </a:ext>
              </a:extLst>
            </p:cNvPr>
            <p:cNvSpPr/>
            <p:nvPr/>
          </p:nvSpPr>
          <p:spPr>
            <a:xfrm>
              <a:off x="1846503" y="3293503"/>
              <a:ext cx="833641" cy="46329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000" dirty="0"/>
                <a:t>Task 628</a:t>
              </a:r>
            </a:p>
            <a:p>
              <a:pPr algn="ctr"/>
              <a:r>
                <a:rPr lang="en-US" sz="1000" dirty="0"/>
                <a:t>Spectrometer</a:t>
              </a: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B289C3F8-7A44-4D2B-AF88-421652476BC0}"/>
                </a:ext>
              </a:extLst>
            </p:cNvPr>
            <p:cNvSpPr/>
            <p:nvPr/>
          </p:nvSpPr>
          <p:spPr>
            <a:xfrm>
              <a:off x="1846504" y="2702610"/>
              <a:ext cx="833641" cy="46329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000" dirty="0"/>
                <a:t>Task 626</a:t>
              </a:r>
            </a:p>
            <a:p>
              <a:pPr algn="ctr"/>
              <a:r>
                <a:rPr lang="en-US" sz="1000" dirty="0"/>
                <a:t>WL fine</a:t>
              </a:r>
            </a:p>
          </p:txBody>
        </p:sp>
        <p:cxnSp>
          <p:nvCxnSpPr>
            <p:cNvPr id="75" name="Straight Arrow Connector 74">
              <a:extLst>
                <a:ext uri="{FF2B5EF4-FFF2-40B4-BE49-F238E27FC236}">
                  <a16:creationId xmlns:a16="http://schemas.microsoft.com/office/drawing/2014/main" id="{833F1264-1390-4966-9395-AC2DDA03387A}"/>
                </a:ext>
              </a:extLst>
            </p:cNvPr>
            <p:cNvCxnSpPr>
              <a:cxnSpLocks/>
              <a:stCxn id="52" idx="1"/>
              <a:endCxn id="51" idx="3"/>
            </p:cNvCxnSpPr>
            <p:nvPr/>
          </p:nvCxnSpPr>
          <p:spPr>
            <a:xfrm flipH="1">
              <a:off x="2681452" y="1583066"/>
              <a:ext cx="266357" cy="0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Arrow Connector 75">
              <a:extLst>
                <a:ext uri="{FF2B5EF4-FFF2-40B4-BE49-F238E27FC236}">
                  <a16:creationId xmlns:a16="http://schemas.microsoft.com/office/drawing/2014/main" id="{CB31E131-6EB9-476A-AC3E-AC5AE31C6532}"/>
                </a:ext>
              </a:extLst>
            </p:cNvPr>
            <p:cNvCxnSpPr>
              <a:cxnSpLocks/>
              <a:stCxn id="54" idx="2"/>
              <a:endCxn id="71" idx="0"/>
            </p:cNvCxnSpPr>
            <p:nvPr/>
          </p:nvCxnSpPr>
          <p:spPr>
            <a:xfrm flipH="1">
              <a:off x="3358533" y="2424697"/>
              <a:ext cx="510997" cy="277494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Arrow Connector 76">
              <a:extLst>
                <a:ext uri="{FF2B5EF4-FFF2-40B4-BE49-F238E27FC236}">
                  <a16:creationId xmlns:a16="http://schemas.microsoft.com/office/drawing/2014/main" id="{14904102-9ABF-49D3-86BE-23CC3F50BAAF}"/>
                </a:ext>
              </a:extLst>
            </p:cNvPr>
            <p:cNvCxnSpPr>
              <a:cxnSpLocks/>
              <a:stCxn id="71" idx="1"/>
              <a:endCxn id="73" idx="3"/>
            </p:cNvCxnSpPr>
            <p:nvPr/>
          </p:nvCxnSpPr>
          <p:spPr>
            <a:xfrm flipH="1">
              <a:off x="2680145" y="2933839"/>
              <a:ext cx="261566" cy="419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Connector: Elbow 77">
              <a:extLst>
                <a:ext uri="{FF2B5EF4-FFF2-40B4-BE49-F238E27FC236}">
                  <a16:creationId xmlns:a16="http://schemas.microsoft.com/office/drawing/2014/main" id="{E11848C8-5AD1-4A39-A09E-8037C7E3A53C}"/>
                </a:ext>
              </a:extLst>
            </p:cNvPr>
            <p:cNvCxnSpPr>
              <a:cxnSpLocks/>
              <a:stCxn id="71" idx="2"/>
              <a:endCxn id="72" idx="3"/>
            </p:cNvCxnSpPr>
            <p:nvPr/>
          </p:nvCxnSpPr>
          <p:spPr>
            <a:xfrm rot="5400000">
              <a:off x="2839507" y="3006125"/>
              <a:ext cx="359664" cy="678389"/>
            </a:xfrm>
            <a:prstGeom prst="bentConnector2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ED2F3D8B-555F-41F0-8AC4-453A62EA0A65}"/>
                </a:ext>
              </a:extLst>
            </p:cNvPr>
            <p:cNvSpPr txBox="1"/>
            <p:nvPr/>
          </p:nvSpPr>
          <p:spPr>
            <a:xfrm>
              <a:off x="2528034" y="979461"/>
              <a:ext cx="1720023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Aft>
                  <a:spcPts val="900"/>
                </a:spcAft>
              </a:pPr>
              <a:r>
                <a:rPr lang="en-US" sz="1400" dirty="0">
                  <a:latin typeface="+mn-lt"/>
                </a:rPr>
                <a:t>Internal Spectrometer</a:t>
              </a:r>
            </a:p>
          </p:txBody>
        </p:sp>
        <p:cxnSp>
          <p:nvCxnSpPr>
            <p:cNvPr id="80" name="Straight Arrow Connector 79">
              <a:extLst>
                <a:ext uri="{FF2B5EF4-FFF2-40B4-BE49-F238E27FC236}">
                  <a16:creationId xmlns:a16="http://schemas.microsoft.com/office/drawing/2014/main" id="{AACE401D-0327-4323-9E6D-FF88437DB35E}"/>
                </a:ext>
              </a:extLst>
            </p:cNvPr>
            <p:cNvCxnSpPr>
              <a:cxnSpLocks/>
              <a:stCxn id="53" idx="2"/>
              <a:endCxn id="71" idx="0"/>
            </p:cNvCxnSpPr>
            <p:nvPr/>
          </p:nvCxnSpPr>
          <p:spPr>
            <a:xfrm>
              <a:off x="2858940" y="2424697"/>
              <a:ext cx="499593" cy="277494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Arrow Connector 80">
              <a:extLst>
                <a:ext uri="{FF2B5EF4-FFF2-40B4-BE49-F238E27FC236}">
                  <a16:creationId xmlns:a16="http://schemas.microsoft.com/office/drawing/2014/main" id="{C20CF595-3218-4B83-820F-AEA5F9783824}"/>
                </a:ext>
              </a:extLst>
            </p:cNvPr>
            <p:cNvCxnSpPr>
              <a:cxnSpLocks/>
              <a:stCxn id="52" idx="2"/>
              <a:endCxn id="71" idx="0"/>
            </p:cNvCxnSpPr>
            <p:nvPr/>
          </p:nvCxnSpPr>
          <p:spPr>
            <a:xfrm flipH="1">
              <a:off x="3358533" y="1814714"/>
              <a:ext cx="6097" cy="887477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Connector: Elbow 81">
              <a:extLst>
                <a:ext uri="{FF2B5EF4-FFF2-40B4-BE49-F238E27FC236}">
                  <a16:creationId xmlns:a16="http://schemas.microsoft.com/office/drawing/2014/main" id="{4C2C9723-96B9-49E5-94C5-8AF18D43D54C}"/>
                </a:ext>
              </a:extLst>
            </p:cNvPr>
            <p:cNvCxnSpPr>
              <a:cxnSpLocks/>
              <a:endCxn id="32" idx="1"/>
            </p:cNvCxnSpPr>
            <p:nvPr/>
          </p:nvCxnSpPr>
          <p:spPr>
            <a:xfrm flipV="1">
              <a:off x="3358533" y="2193049"/>
              <a:ext cx="1741971" cy="1332103"/>
            </a:xfrm>
            <a:prstGeom prst="bentConnector3">
              <a:avLst>
                <a:gd name="adj1" fmla="val 78106"/>
              </a:avLst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Arrow Connector 82">
              <a:extLst>
                <a:ext uri="{FF2B5EF4-FFF2-40B4-BE49-F238E27FC236}">
                  <a16:creationId xmlns:a16="http://schemas.microsoft.com/office/drawing/2014/main" id="{5AD73E8E-625E-4F11-BF6B-B8E666C9F7F1}"/>
                </a:ext>
              </a:extLst>
            </p:cNvPr>
            <p:cNvCxnSpPr>
              <a:cxnSpLocks/>
              <a:stCxn id="50" idx="3"/>
              <a:endCxn id="31" idx="1"/>
            </p:cNvCxnSpPr>
            <p:nvPr/>
          </p:nvCxnSpPr>
          <p:spPr>
            <a:xfrm>
              <a:off x="4846826" y="1583066"/>
              <a:ext cx="253678" cy="0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Connector: Elbow 83">
              <a:extLst>
                <a:ext uri="{FF2B5EF4-FFF2-40B4-BE49-F238E27FC236}">
                  <a16:creationId xmlns:a16="http://schemas.microsoft.com/office/drawing/2014/main" id="{ABA1D3E0-2F71-456E-9FCD-7D61DF5ACEEF}"/>
                </a:ext>
              </a:extLst>
            </p:cNvPr>
            <p:cNvCxnSpPr>
              <a:cxnSpLocks/>
              <a:stCxn id="50" idx="2"/>
              <a:endCxn id="71" idx="3"/>
            </p:cNvCxnSpPr>
            <p:nvPr/>
          </p:nvCxnSpPr>
          <p:spPr>
            <a:xfrm rot="5400000">
              <a:off x="3543118" y="2046950"/>
              <a:ext cx="1119125" cy="654652"/>
            </a:xfrm>
            <a:prstGeom prst="bentConnector2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3FA6FF67-E447-4129-9DEB-2176B9236DFB}"/>
                </a:ext>
              </a:extLst>
            </p:cNvPr>
            <p:cNvSpPr txBox="1"/>
            <p:nvPr/>
          </p:nvSpPr>
          <p:spPr>
            <a:xfrm>
              <a:off x="6302023" y="3394803"/>
              <a:ext cx="1080902" cy="3385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900"/>
                </a:spcAft>
              </a:pPr>
              <a:r>
                <a:rPr lang="en-US" sz="1100" dirty="0">
                  <a:solidFill>
                    <a:schemeClr val="tx2"/>
                  </a:solidFill>
                  <a:latin typeface="+mn-lt"/>
                </a:rPr>
                <a:t>Task 630 has 603 included</a:t>
              </a:r>
            </a:p>
          </p:txBody>
        </p:sp>
        <p:cxnSp>
          <p:nvCxnSpPr>
            <p:cNvPr id="86" name="Connector: Elbow 85">
              <a:extLst>
                <a:ext uri="{FF2B5EF4-FFF2-40B4-BE49-F238E27FC236}">
                  <a16:creationId xmlns:a16="http://schemas.microsoft.com/office/drawing/2014/main" id="{09F4F84B-F031-4865-9546-5002A20DDF83}"/>
                </a:ext>
              </a:extLst>
            </p:cNvPr>
            <p:cNvCxnSpPr>
              <a:cxnSpLocks/>
              <a:stCxn id="31" idx="0"/>
              <a:endCxn id="52" idx="0"/>
            </p:cNvCxnSpPr>
            <p:nvPr/>
          </p:nvCxnSpPr>
          <p:spPr>
            <a:xfrm rot="16200000" flipV="1">
              <a:off x="4480884" y="235164"/>
              <a:ext cx="12700" cy="2232508"/>
            </a:xfrm>
            <a:prstGeom prst="bentConnector3">
              <a:avLst>
                <a:gd name="adj1" fmla="val 1032000"/>
              </a:avLst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EA52B03D-1743-4B53-BEE9-ABC0EBCEEC4C}"/>
                </a:ext>
              </a:extLst>
            </p:cNvPr>
            <p:cNvSpPr/>
            <p:nvPr/>
          </p:nvSpPr>
          <p:spPr>
            <a:xfrm>
              <a:off x="4690988" y="1345068"/>
              <a:ext cx="155838" cy="158369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rgbClr val="081765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B90817E3-5730-4B1B-B74B-7CF096E915A3}"/>
                </a:ext>
              </a:extLst>
            </p:cNvPr>
            <p:cNvSpPr/>
            <p:nvPr/>
          </p:nvSpPr>
          <p:spPr>
            <a:xfrm>
              <a:off x="3634826" y="1347368"/>
              <a:ext cx="155838" cy="158369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rgbClr val="081765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2DCC4A7D-6F8F-479E-861D-A6B8C4D4BCA6}"/>
                </a:ext>
              </a:extLst>
            </p:cNvPr>
            <p:cNvSpPr/>
            <p:nvPr/>
          </p:nvSpPr>
          <p:spPr>
            <a:xfrm>
              <a:off x="5943888" y="1351417"/>
              <a:ext cx="155838" cy="158369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rgbClr val="081765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01D8474E-195A-4A99-8A15-0867A1DB1540}"/>
                </a:ext>
              </a:extLst>
            </p:cNvPr>
            <p:cNvSpPr/>
            <p:nvPr/>
          </p:nvSpPr>
          <p:spPr>
            <a:xfrm>
              <a:off x="5937496" y="1963761"/>
              <a:ext cx="155838" cy="158369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rgbClr val="081765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8728226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9E705E-E0DD-4143-830C-706F48B6D2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S component network connec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ADABBB3-B691-4E0C-AF46-B8C3ADD682C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220D57C-2796-4436-BE2D-7E98428999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9E589B-AAA2-4E83-AFD3-2993C58A57EE}" type="datetime3">
              <a:rPr lang="en-US" smtClean="0"/>
              <a:pPr/>
              <a:t>1 May 20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480B5F-BF94-43FC-914F-B36CC6173F2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CC20ED-C61E-4A9B-B607-91EEB53B324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/>
              <a:t>Slide </a:t>
            </a:r>
            <a:fld id="{2BF23E3A-8558-42B9-AEEE-59D910584A16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6D0C4F2-1DA9-4515-9E4D-153F932C09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2273" y="904494"/>
            <a:ext cx="5382490" cy="4077645"/>
          </a:xfrm>
          <a:prstGeom prst="rect">
            <a:avLst/>
          </a:prstGeom>
          <a:ln w="19050">
            <a:solidFill>
              <a:srgbClr val="00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2537547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PPS GUI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9E589B-AAA2-4E83-AFD3-2993C58A57EE}" type="datetime3">
              <a:rPr lang="en-US" smtClean="0"/>
              <a:pPr/>
              <a:t>1 May 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/>
              <a:t>Slide </a:t>
            </a:r>
            <a:fld id="{2BF23E3A-8558-42B9-AEEE-59D910584A16}" type="slidenum">
              <a:rPr lang="en-US" smtClean="0"/>
              <a:pPr/>
              <a:t>12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D6A0BDE-F793-427B-85E9-C13AAA0CC1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37831" y="892717"/>
            <a:ext cx="5152965" cy="381184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D3743B0-369C-4F4D-8A1F-3E1C68037C7A}"/>
              </a:ext>
            </a:extLst>
          </p:cNvPr>
          <p:cNvSpPr/>
          <p:nvPr/>
        </p:nvSpPr>
        <p:spPr>
          <a:xfrm>
            <a:off x="1837831" y="3562350"/>
            <a:ext cx="981569" cy="557022"/>
          </a:xfrm>
          <a:prstGeom prst="rect">
            <a:avLst/>
          </a:prstGeom>
          <a:noFill/>
          <a:ln cap="sq">
            <a:solidFill>
              <a:schemeClr val="accent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C0968AA-A4AA-4C8B-AAF8-5580B4FCA1E7}"/>
              </a:ext>
            </a:extLst>
          </p:cNvPr>
          <p:cNvSpPr txBox="1"/>
          <p:nvPr/>
        </p:nvSpPr>
        <p:spPr>
          <a:xfrm>
            <a:off x="152400" y="2312437"/>
            <a:ext cx="1447800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400" dirty="0">
                <a:solidFill>
                  <a:schemeClr val="tx2"/>
                </a:solidFill>
                <a:latin typeface="+mn-lt"/>
              </a:rPr>
              <a:t>The QCM and Laser block : related to QCM and Laser hardware</a:t>
            </a:r>
          </a:p>
        </p:txBody>
      </p: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D551AB93-7283-4062-B953-7D0D5B635625}"/>
              </a:ext>
            </a:extLst>
          </p:cNvPr>
          <p:cNvCxnSpPr>
            <a:cxnSpLocks/>
            <a:stCxn id="10" idx="2"/>
            <a:endCxn id="7" idx="1"/>
          </p:cNvCxnSpPr>
          <p:nvPr/>
        </p:nvCxnSpPr>
        <p:spPr>
          <a:xfrm rot="16200000" flipH="1">
            <a:off x="1131462" y="3134492"/>
            <a:ext cx="451206" cy="961531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59567428-0DED-43BE-B6A3-02796181FDE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075770" y="1246564"/>
            <a:ext cx="2042673" cy="359848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WinForm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AutoFa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558915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F22277-B70E-4F5E-9EBA-4BFD6FAA11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LampModuleControllerTool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6022274-3564-44D7-A7BF-C92A6DF4190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64926" y="1183064"/>
            <a:ext cx="2042673" cy="359848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CF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PF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4DAD75-6940-47B5-ABED-59E82201F1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9E589B-AAA2-4E83-AFD3-2993C58A57EE}" type="datetime3">
              <a:rPr lang="en-US" smtClean="0"/>
              <a:pPr/>
              <a:t>1 May 20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C483EA-7B77-454C-B974-15221C41259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D55968-11F0-4A50-9305-FC2A143BD90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/>
              <a:t>Slide </a:t>
            </a:r>
            <a:fld id="{2BF23E3A-8558-42B9-AEEE-59D910584A16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3E9FD00-7E58-47F5-861C-2C6A276FDE2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6401" y="998688"/>
            <a:ext cx="6475114" cy="3782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092841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27B0F15-11AC-4B1E-A7FD-7555EDD2C7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&lt;Date&gt;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3BD0CE6-7A1A-4051-B040-742078A5A79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noProof="0"/>
              <a:t>Slide </a:t>
            </a:r>
            <a:fld id="{1D9B13CD-33A0-446D-8703-F89F9F109F54}" type="slidenum">
              <a:rPr lang="en-US" noProof="0" smtClean="0"/>
              <a:pPr/>
              <a:t>14</a:t>
            </a:fld>
            <a:endParaRPr lang="en-US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061006E-77A9-4315-B8BE-C7D09CB5D8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Introduction to System Hardware Setup Too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951D83A-389D-432D-9AE0-0C6176984D5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hardware setup tool prepares the system for recovery after a spare part swap or hardware upgrad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t achieves this by setting the correct configuration and equipment constant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C05DEFE-9D8D-4273-9273-FF51DDFE8F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AD4DA08D-D985-423D-9F5A-4ABB73CD0D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4619" y="2171196"/>
            <a:ext cx="4126584" cy="2652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6138711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EBC6ED-8B62-4B8D-BC07-C773C65B88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&lt;Date&gt;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5E6B0E3-DD10-40DB-AFF8-8D9151D489B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noProof="0"/>
              <a:t>Slide </a:t>
            </a:r>
            <a:fld id="{1D9B13CD-33A0-446D-8703-F89F9F109F54}" type="slidenum">
              <a:rPr lang="en-US" noProof="0" smtClean="0"/>
              <a:pPr/>
              <a:t>15</a:t>
            </a:fld>
            <a:endParaRPr lang="en-US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77383A4-B537-4BFA-BA01-BF898B93A4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ST suppor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6635D6-C303-4D12-B173-5D9C211C3D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9601" y="3163730"/>
            <a:ext cx="4631076" cy="1091298"/>
          </a:xfrm>
        </p:spPr>
        <p:txBody>
          <a:bodyPr>
            <a:normAutofit fontScale="85000" lnSpcReduction="20000"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set configuration constants and ECs depending on the selected scenario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dd 5 newly error/warning codes for SHST to support LPPS MK4 introduc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upport FW update on LPPS Mk4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69FA3D3-D6F5-4167-BE89-57C3A1D7342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F1EC496-3D57-4D0A-90EC-0AC6B2AA08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3323" y="548531"/>
            <a:ext cx="3556816" cy="432558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E92D1E34-44BD-4D49-A3F9-D25E3831AC3A}"/>
              </a:ext>
            </a:extLst>
          </p:cNvPr>
          <p:cNvSpPr/>
          <p:nvPr/>
        </p:nvSpPr>
        <p:spPr>
          <a:xfrm>
            <a:off x="775843" y="1619085"/>
            <a:ext cx="440976" cy="11387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2F01D48-785F-444F-B064-FC2E14A136F1}"/>
              </a:ext>
            </a:extLst>
          </p:cNvPr>
          <p:cNvSpPr/>
          <p:nvPr/>
        </p:nvSpPr>
        <p:spPr>
          <a:xfrm>
            <a:off x="775843" y="1834279"/>
            <a:ext cx="336202" cy="11387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2EF22F5-E1C7-4FBF-9220-E4A21E1F52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55724" y="486001"/>
            <a:ext cx="4129891" cy="25463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751853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 mod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  <a:p>
            <a:pPr marL="688975" lvl="1" indent="-285750"/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9E589B-AAA2-4E83-AFD3-2993C58A57EE}" type="datetime3">
              <a:rPr lang="en-US" smtClean="0"/>
              <a:pPr/>
              <a:t>1 May 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/>
              <a:t>Slide </a:t>
            </a:r>
            <a:fld id="{2BF23E3A-8558-42B9-AEEE-59D910584A16}" type="slidenum">
              <a:rPr lang="en-US" smtClean="0"/>
              <a:pPr/>
              <a:t>16</a:t>
            </a:fld>
            <a:endParaRPr lang="en-US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87D18BDC-82D5-4532-B630-084D058D7BBB}"/>
              </a:ext>
            </a:extLst>
          </p:cNvPr>
          <p:cNvGrpSpPr/>
          <p:nvPr/>
        </p:nvGrpSpPr>
        <p:grpSpPr>
          <a:xfrm>
            <a:off x="565662" y="-426"/>
            <a:ext cx="7857903" cy="4833118"/>
            <a:chOff x="287289" y="141063"/>
            <a:chExt cx="7857903" cy="4833118"/>
          </a:xfrm>
        </p:grpSpPr>
        <p:sp>
          <p:nvSpPr>
            <p:cNvPr id="35" name="Arrow: Down 34">
              <a:extLst>
                <a:ext uri="{FF2B5EF4-FFF2-40B4-BE49-F238E27FC236}">
                  <a16:creationId xmlns:a16="http://schemas.microsoft.com/office/drawing/2014/main" id="{98AFC859-D9EE-480B-8A8B-3C258EA29FE6}"/>
                </a:ext>
              </a:extLst>
            </p:cNvPr>
            <p:cNvSpPr/>
            <p:nvPr/>
          </p:nvSpPr>
          <p:spPr>
            <a:xfrm rot="13352395">
              <a:off x="6038194" y="141063"/>
              <a:ext cx="1163503" cy="4695370"/>
            </a:xfrm>
            <a:prstGeom prst="downArrow">
              <a:avLst/>
            </a:prstGeom>
            <a:solidFill>
              <a:schemeClr val="accent4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 err="1"/>
            </a:p>
          </p:txBody>
        </p: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835AAA04-F8A0-4A9E-A646-4BD4E2B6E3D7}"/>
                </a:ext>
              </a:extLst>
            </p:cNvPr>
            <p:cNvGrpSpPr/>
            <p:nvPr/>
          </p:nvGrpSpPr>
          <p:grpSpPr>
            <a:xfrm>
              <a:off x="287289" y="1001846"/>
              <a:ext cx="7857903" cy="3972335"/>
              <a:chOff x="287289" y="1001846"/>
              <a:chExt cx="7857903" cy="3972335"/>
            </a:xfrm>
          </p:grpSpPr>
          <p:sp>
            <p:nvSpPr>
              <p:cNvPr id="37" name="Arrow: Down 36">
                <a:extLst>
                  <a:ext uri="{FF2B5EF4-FFF2-40B4-BE49-F238E27FC236}">
                    <a16:creationId xmlns:a16="http://schemas.microsoft.com/office/drawing/2014/main" id="{13EAF948-79C7-49BE-B2F7-A7080BDAD78C}"/>
                  </a:ext>
                </a:extLst>
              </p:cNvPr>
              <p:cNvSpPr/>
              <p:nvPr/>
            </p:nvSpPr>
            <p:spPr>
              <a:xfrm rot="18748652">
                <a:off x="2053222" y="348522"/>
                <a:ext cx="1163503" cy="4695370"/>
              </a:xfrm>
              <a:prstGeom prst="downArrow">
                <a:avLst/>
              </a:prstGeom>
              <a:solidFill>
                <a:schemeClr val="accent4">
                  <a:alpha val="50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vert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38" name="Flowchart: Alternate Process 37">
                <a:extLst>
                  <a:ext uri="{FF2B5EF4-FFF2-40B4-BE49-F238E27FC236}">
                    <a16:creationId xmlns:a16="http://schemas.microsoft.com/office/drawing/2014/main" id="{08C74D18-C620-4859-9DFF-D6C38C89E2A5}"/>
                  </a:ext>
                </a:extLst>
              </p:cNvPr>
              <p:cNvSpPr/>
              <p:nvPr/>
            </p:nvSpPr>
            <p:spPr>
              <a:xfrm>
                <a:off x="4249174" y="4574911"/>
                <a:ext cx="853440" cy="399270"/>
              </a:xfrm>
              <a:prstGeom prst="flowChartAlternateProcess">
                <a:avLst/>
              </a:prstGeom>
              <a:solidFill>
                <a:srgbClr val="7030A0"/>
              </a:solidFill>
              <a:ln w="19050" cap="sq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900" dirty="0"/>
                  <a:t>SW Code</a:t>
                </a:r>
              </a:p>
            </p:txBody>
          </p:sp>
          <p:sp>
            <p:nvSpPr>
              <p:cNvPr id="39" name="Flowchart: Alternate Process 38">
                <a:extLst>
                  <a:ext uri="{FF2B5EF4-FFF2-40B4-BE49-F238E27FC236}">
                    <a16:creationId xmlns:a16="http://schemas.microsoft.com/office/drawing/2014/main" id="{E6370BB2-0439-4A6D-8180-2565FE2A7334}"/>
                  </a:ext>
                </a:extLst>
              </p:cNvPr>
              <p:cNvSpPr/>
              <p:nvPr/>
            </p:nvSpPr>
            <p:spPr>
              <a:xfrm>
                <a:off x="6405788" y="2023636"/>
                <a:ext cx="853440" cy="399270"/>
              </a:xfrm>
              <a:prstGeom prst="flowChartAlternateProcess">
                <a:avLst/>
              </a:prstGeom>
              <a:solidFill>
                <a:schemeClr val="accent4">
                  <a:lumMod val="75000"/>
                </a:schemeClr>
              </a:solidFill>
              <a:ln w="19050" cap="sq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900" dirty="0"/>
                  <a:t>Acceptation Test</a:t>
                </a:r>
              </a:p>
            </p:txBody>
          </p:sp>
          <p:sp>
            <p:nvSpPr>
              <p:cNvPr id="40" name="Flowchart: Alternate Process 39">
                <a:extLst>
                  <a:ext uri="{FF2B5EF4-FFF2-40B4-BE49-F238E27FC236}">
                    <a16:creationId xmlns:a16="http://schemas.microsoft.com/office/drawing/2014/main" id="{34981B04-94B7-4B2E-8377-E643BDDBF4C4}"/>
                  </a:ext>
                </a:extLst>
              </p:cNvPr>
              <p:cNvSpPr/>
              <p:nvPr/>
            </p:nvSpPr>
            <p:spPr>
              <a:xfrm>
                <a:off x="7291752" y="1003855"/>
                <a:ext cx="853440" cy="399270"/>
              </a:xfrm>
              <a:prstGeom prst="flowChartAlternateProcess">
                <a:avLst/>
              </a:prstGeom>
              <a:solidFill>
                <a:schemeClr val="tx2"/>
              </a:solidFill>
              <a:ln w="19050" cap="sq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900" dirty="0"/>
                  <a:t>Alpha &amp; Beta Test</a:t>
                </a:r>
              </a:p>
            </p:txBody>
          </p:sp>
          <p:sp>
            <p:nvSpPr>
              <p:cNvPr id="41" name="Flowchart: Alternate Process 40">
                <a:extLst>
                  <a:ext uri="{FF2B5EF4-FFF2-40B4-BE49-F238E27FC236}">
                    <a16:creationId xmlns:a16="http://schemas.microsoft.com/office/drawing/2014/main" id="{CEAB57E0-B07B-4FB6-8608-E0087D384FEE}"/>
                  </a:ext>
                </a:extLst>
              </p:cNvPr>
              <p:cNvSpPr/>
              <p:nvPr/>
            </p:nvSpPr>
            <p:spPr>
              <a:xfrm>
                <a:off x="1684013" y="2015927"/>
                <a:ext cx="853440" cy="399270"/>
              </a:xfrm>
              <a:prstGeom prst="flowChartAlternateProcess">
                <a:avLst/>
              </a:prstGeom>
              <a:solidFill>
                <a:schemeClr val="accent4">
                  <a:lumMod val="75000"/>
                </a:schemeClr>
              </a:solidFill>
              <a:ln w="19050" cap="sq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900" dirty="0"/>
                  <a:t>Business Specification</a:t>
                </a:r>
              </a:p>
            </p:txBody>
          </p:sp>
          <p:sp>
            <p:nvSpPr>
              <p:cNvPr id="42" name="Flowchart: Alternate Process 41">
                <a:extLst>
                  <a:ext uri="{FF2B5EF4-FFF2-40B4-BE49-F238E27FC236}">
                    <a16:creationId xmlns:a16="http://schemas.microsoft.com/office/drawing/2014/main" id="{28AB2CFB-B9ED-4C87-B29E-C55EE8850EE9}"/>
                  </a:ext>
                </a:extLst>
              </p:cNvPr>
              <p:cNvSpPr/>
              <p:nvPr/>
            </p:nvSpPr>
            <p:spPr>
              <a:xfrm>
                <a:off x="717216" y="1001846"/>
                <a:ext cx="853440" cy="399270"/>
              </a:xfrm>
              <a:prstGeom prst="flowChartAlternateProcess">
                <a:avLst/>
              </a:prstGeom>
              <a:solidFill>
                <a:schemeClr val="tx2"/>
              </a:solidFill>
              <a:ln w="19050" cap="sq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900" dirty="0"/>
                  <a:t>Customer Business Processes</a:t>
                </a:r>
              </a:p>
            </p:txBody>
          </p:sp>
          <p:sp>
            <p:nvSpPr>
              <p:cNvPr id="43" name="Flowchart: Alternate Process 38">
                <a:extLst>
                  <a:ext uri="{FF2B5EF4-FFF2-40B4-BE49-F238E27FC236}">
                    <a16:creationId xmlns:a16="http://schemas.microsoft.com/office/drawing/2014/main" id="{6D431B6A-78B8-4FAA-BC73-B5C2D517C7B7}"/>
                  </a:ext>
                </a:extLst>
              </p:cNvPr>
              <p:cNvSpPr/>
              <p:nvPr/>
            </p:nvSpPr>
            <p:spPr>
              <a:xfrm>
                <a:off x="2776398" y="3030387"/>
                <a:ext cx="853440" cy="399270"/>
              </a:xfrm>
              <a:prstGeom prst="flowChartAlternateProcess">
                <a:avLst/>
              </a:prstGeom>
              <a:solidFill>
                <a:schemeClr val="accent4">
                  <a:lumMod val="75000"/>
                </a:schemeClr>
              </a:solidFill>
              <a:ln w="19050" cap="sq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900" dirty="0"/>
                  <a:t>Functional Specification</a:t>
                </a:r>
              </a:p>
            </p:txBody>
          </p:sp>
          <p:sp>
            <p:nvSpPr>
              <p:cNvPr id="44" name="Flowchart: Alternate Process 56">
                <a:extLst>
                  <a:ext uri="{FF2B5EF4-FFF2-40B4-BE49-F238E27FC236}">
                    <a16:creationId xmlns:a16="http://schemas.microsoft.com/office/drawing/2014/main" id="{A560A8D6-3074-4B35-8672-6F9C03BB1D52}"/>
                  </a:ext>
                </a:extLst>
              </p:cNvPr>
              <p:cNvSpPr/>
              <p:nvPr/>
            </p:nvSpPr>
            <p:spPr>
              <a:xfrm>
                <a:off x="5581390" y="3022889"/>
                <a:ext cx="853440" cy="399270"/>
              </a:xfrm>
              <a:prstGeom prst="flowChartAlternateProcess">
                <a:avLst/>
              </a:prstGeom>
              <a:solidFill>
                <a:schemeClr val="accent4">
                  <a:lumMod val="75000"/>
                </a:schemeClr>
              </a:solidFill>
              <a:ln w="19050" cap="sq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900" dirty="0"/>
                  <a:t>System Test</a:t>
                </a:r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493C5AB6-D354-480F-8FAA-A5F04AC8CFE2}"/>
                  </a:ext>
                </a:extLst>
              </p:cNvPr>
              <p:cNvSpPr/>
              <p:nvPr/>
            </p:nvSpPr>
            <p:spPr>
              <a:xfrm rot="2559102">
                <a:off x="1558958" y="2796317"/>
                <a:ext cx="983608" cy="349472"/>
              </a:xfrm>
              <a:prstGeom prst="rect">
                <a:avLst/>
              </a:prstGeom>
              <a:noFill/>
              <a:ln w="19050" cap="sq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dirty="0">
                    <a:solidFill>
                      <a:srgbClr val="99D899"/>
                    </a:solidFill>
                  </a:rPr>
                  <a:t>Specify</a:t>
                </a:r>
              </a:p>
            </p:txBody>
          </p:sp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B8D68CA0-18BC-499C-A530-64BDC0E1C4CA}"/>
                  </a:ext>
                </a:extLst>
              </p:cNvPr>
              <p:cNvSpPr/>
              <p:nvPr/>
            </p:nvSpPr>
            <p:spPr>
              <a:xfrm rot="18752861">
                <a:off x="6477907" y="2921758"/>
                <a:ext cx="983608" cy="349472"/>
              </a:xfrm>
              <a:prstGeom prst="rect">
                <a:avLst/>
              </a:prstGeom>
              <a:noFill/>
              <a:ln w="19050" cap="sq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dirty="0">
                    <a:solidFill>
                      <a:srgbClr val="99D899"/>
                    </a:solidFill>
                  </a:rPr>
                  <a:t>Qualify</a:t>
                </a:r>
              </a:p>
            </p:txBody>
          </p:sp>
          <p:sp>
            <p:nvSpPr>
              <p:cNvPr id="47" name="Flowchart: Alternate Process 38">
                <a:extLst>
                  <a:ext uri="{FF2B5EF4-FFF2-40B4-BE49-F238E27FC236}">
                    <a16:creationId xmlns:a16="http://schemas.microsoft.com/office/drawing/2014/main" id="{657FE430-2332-450A-A2B4-38C0CA5BB340}"/>
                  </a:ext>
                </a:extLst>
              </p:cNvPr>
              <p:cNvSpPr/>
              <p:nvPr/>
            </p:nvSpPr>
            <p:spPr>
              <a:xfrm>
                <a:off x="2776398" y="3033516"/>
                <a:ext cx="853440" cy="399270"/>
              </a:xfrm>
              <a:prstGeom prst="flowChartAlternateProcess">
                <a:avLst/>
              </a:prstGeom>
              <a:solidFill>
                <a:schemeClr val="accent3">
                  <a:lumMod val="50000"/>
                </a:schemeClr>
              </a:solidFill>
              <a:ln w="19050" cap="sq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900" dirty="0"/>
                  <a:t>EPS, EDS, TPS</a:t>
                </a:r>
              </a:p>
            </p:txBody>
          </p:sp>
          <p:sp>
            <p:nvSpPr>
              <p:cNvPr id="48" name="Flowchart: Alternate Process 17">
                <a:extLst>
                  <a:ext uri="{FF2B5EF4-FFF2-40B4-BE49-F238E27FC236}">
                    <a16:creationId xmlns:a16="http://schemas.microsoft.com/office/drawing/2014/main" id="{21515697-CE60-4B4A-B402-30C094FAA990}"/>
                  </a:ext>
                </a:extLst>
              </p:cNvPr>
              <p:cNvSpPr/>
              <p:nvPr/>
            </p:nvSpPr>
            <p:spPr>
              <a:xfrm>
                <a:off x="5142082" y="3532551"/>
                <a:ext cx="853440" cy="399270"/>
              </a:xfrm>
              <a:prstGeom prst="flowChartAlternateProcess">
                <a:avLst/>
              </a:prstGeom>
              <a:solidFill>
                <a:schemeClr val="accent3">
                  <a:lumMod val="50000"/>
                </a:schemeClr>
              </a:solidFill>
              <a:ln w="19050" cap="sq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900" dirty="0"/>
                  <a:t>Module Integration Test</a:t>
                </a:r>
              </a:p>
            </p:txBody>
          </p:sp>
          <p:cxnSp>
            <p:nvCxnSpPr>
              <p:cNvPr id="49" name="Straight Connector 51">
                <a:extLst>
                  <a:ext uri="{FF2B5EF4-FFF2-40B4-BE49-F238E27FC236}">
                    <a16:creationId xmlns:a16="http://schemas.microsoft.com/office/drawing/2014/main" id="{DDD6CFF9-14A6-4AA0-98DD-2CBB0B5F106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788449" y="3470223"/>
                <a:ext cx="3640935" cy="0"/>
              </a:xfrm>
              <a:prstGeom prst="line">
                <a:avLst/>
              </a:prstGeom>
              <a:ln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0" name="Flowchart: Alternate Process 49">
                <a:extLst>
                  <a:ext uri="{FF2B5EF4-FFF2-40B4-BE49-F238E27FC236}">
                    <a16:creationId xmlns:a16="http://schemas.microsoft.com/office/drawing/2014/main" id="{8A6BC1E5-CF86-469D-948B-FB41EFA0F9ED}"/>
                  </a:ext>
                </a:extLst>
              </p:cNvPr>
              <p:cNvSpPr/>
              <p:nvPr/>
            </p:nvSpPr>
            <p:spPr>
              <a:xfrm>
                <a:off x="4722504" y="4053731"/>
                <a:ext cx="853440" cy="399270"/>
              </a:xfrm>
              <a:prstGeom prst="flowChartAlternateProcess">
                <a:avLst/>
              </a:prstGeom>
              <a:solidFill>
                <a:schemeClr val="accent3">
                  <a:lumMod val="50000"/>
                </a:schemeClr>
              </a:solidFill>
              <a:ln w="19050" cap="sq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900" dirty="0"/>
                  <a:t>Unit Test</a:t>
                </a:r>
              </a:p>
            </p:txBody>
          </p:sp>
          <p:sp>
            <p:nvSpPr>
              <p:cNvPr id="51" name="Flowchart: Alternate Process 47">
                <a:extLst>
                  <a:ext uri="{FF2B5EF4-FFF2-40B4-BE49-F238E27FC236}">
                    <a16:creationId xmlns:a16="http://schemas.microsoft.com/office/drawing/2014/main" id="{009C2418-385F-488D-AC08-FACB8E58299D}"/>
                  </a:ext>
                </a:extLst>
              </p:cNvPr>
              <p:cNvSpPr/>
              <p:nvPr/>
            </p:nvSpPr>
            <p:spPr>
              <a:xfrm>
                <a:off x="5581390" y="3022889"/>
                <a:ext cx="853440" cy="399270"/>
              </a:xfrm>
              <a:prstGeom prst="flowChartAlternateProcess">
                <a:avLst/>
              </a:prstGeom>
              <a:solidFill>
                <a:schemeClr val="accent3">
                  <a:lumMod val="50000"/>
                </a:schemeClr>
              </a:solidFill>
              <a:ln w="19050" cap="sq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900" dirty="0"/>
                  <a:t>BB + FC Integration Test</a:t>
                </a:r>
              </a:p>
            </p:txBody>
          </p:sp>
          <p:cxnSp>
            <p:nvCxnSpPr>
              <p:cNvPr id="52" name="Straight Connector 73">
                <a:extLst>
                  <a:ext uri="{FF2B5EF4-FFF2-40B4-BE49-F238E27FC236}">
                    <a16:creationId xmlns:a16="http://schemas.microsoft.com/office/drawing/2014/main" id="{C59E8709-4E50-4D35-B44E-A03D3060E00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190427" y="2971466"/>
                <a:ext cx="4635496" cy="10857"/>
              </a:xfrm>
              <a:prstGeom prst="line">
                <a:avLst/>
              </a:prstGeom>
              <a:ln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3" name="Flowchart: Alternate Process 40">
                <a:extLst>
                  <a:ext uri="{FF2B5EF4-FFF2-40B4-BE49-F238E27FC236}">
                    <a16:creationId xmlns:a16="http://schemas.microsoft.com/office/drawing/2014/main" id="{A698B8A0-9627-4086-952F-1B1E71D3231B}"/>
                  </a:ext>
                </a:extLst>
              </p:cNvPr>
              <p:cNvSpPr/>
              <p:nvPr/>
            </p:nvSpPr>
            <p:spPr>
              <a:xfrm>
                <a:off x="1684013" y="2015927"/>
                <a:ext cx="853440" cy="399270"/>
              </a:xfrm>
              <a:prstGeom prst="flowChartAlternateProcess">
                <a:avLst/>
              </a:prstGeom>
              <a:solidFill>
                <a:schemeClr val="accent4">
                  <a:lumMod val="75000"/>
                </a:schemeClr>
              </a:solidFill>
              <a:ln w="19050" cap="sq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900" dirty="0"/>
                  <a:t>EPS, EDS, TPS</a:t>
                </a:r>
              </a:p>
            </p:txBody>
          </p:sp>
          <p:sp>
            <p:nvSpPr>
              <p:cNvPr id="54" name="Flowchart: Alternate Process 18">
                <a:extLst>
                  <a:ext uri="{FF2B5EF4-FFF2-40B4-BE49-F238E27FC236}">
                    <a16:creationId xmlns:a16="http://schemas.microsoft.com/office/drawing/2014/main" id="{530E10FE-32B5-4A8A-BC9B-2EBAC57CB5CD}"/>
                  </a:ext>
                </a:extLst>
              </p:cNvPr>
              <p:cNvSpPr/>
              <p:nvPr/>
            </p:nvSpPr>
            <p:spPr>
              <a:xfrm>
                <a:off x="5984381" y="2506560"/>
                <a:ext cx="853440" cy="399270"/>
              </a:xfrm>
              <a:prstGeom prst="flowChartAlternateProcess">
                <a:avLst/>
              </a:prstGeom>
              <a:solidFill>
                <a:schemeClr val="accent4">
                  <a:lumMod val="75000"/>
                </a:schemeClr>
              </a:solidFill>
              <a:ln w="19050" cap="sq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900" dirty="0"/>
                  <a:t>Inter FC</a:t>
                </a:r>
              </a:p>
            </p:txBody>
          </p:sp>
          <p:cxnSp>
            <p:nvCxnSpPr>
              <p:cNvPr id="55" name="Straight Connector 74">
                <a:extLst>
                  <a:ext uri="{FF2B5EF4-FFF2-40B4-BE49-F238E27FC236}">
                    <a16:creationId xmlns:a16="http://schemas.microsoft.com/office/drawing/2014/main" id="{2A5BF8CC-DF26-4E3E-B35B-C66B3116649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12525" y="1471883"/>
                <a:ext cx="7432667" cy="0"/>
              </a:xfrm>
              <a:prstGeom prst="line">
                <a:avLst/>
              </a:prstGeom>
              <a:ln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Straight Connector 51">
                <a:extLst>
                  <a:ext uri="{FF2B5EF4-FFF2-40B4-BE49-F238E27FC236}">
                    <a16:creationId xmlns:a16="http://schemas.microsoft.com/office/drawing/2014/main" id="{F89D745A-F33F-43C0-AD90-0E950EE8D30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694648" y="2468809"/>
                <a:ext cx="5530658" cy="14266"/>
              </a:xfrm>
              <a:prstGeom prst="line">
                <a:avLst/>
              </a:prstGeom>
              <a:ln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7" name="Text Placeholder 7">
                <a:extLst>
                  <a:ext uri="{FF2B5EF4-FFF2-40B4-BE49-F238E27FC236}">
                    <a16:creationId xmlns:a16="http://schemas.microsoft.com/office/drawing/2014/main" id="{2CFC7AEB-25B3-446E-8E03-1841AEBBD3D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974100" y="1107675"/>
                <a:ext cx="1496807" cy="293801"/>
              </a:xfrm>
              <a:prstGeom prst="rect">
                <a:avLst/>
              </a:prstGeom>
            </p:spPr>
            <p:txBody>
              <a:bodyPr wrap="square" lIns="0" tIns="0" rIns="0" bIns="0"/>
              <a:lstStyle>
                <a:lvl1pPr marL="0" indent="0" algn="l" defTabSz="914400" rtl="0" eaLnBrk="1" latinLnBrk="0" hangingPunct="1">
                  <a:spcBef>
                    <a:spcPts val="0"/>
                  </a:spcBef>
                  <a:spcAft>
                    <a:spcPts val="600"/>
                  </a:spcAft>
                  <a:buFont typeface="Arial" pitchFamily="34" charset="0"/>
                  <a:buNone/>
                  <a:defRPr sz="28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1pPr>
                <a:lvl2pPr marL="230188" indent="-230188" algn="l" defTabSz="914400" rtl="0" eaLnBrk="1" latinLnBrk="0" hangingPunct="1">
                  <a:spcBef>
                    <a:spcPts val="0"/>
                  </a:spcBef>
                  <a:spcAft>
                    <a:spcPts val="600"/>
                  </a:spcAft>
                  <a:buFont typeface="Arial" pitchFamily="34" charset="0"/>
                  <a:buChar char="•"/>
                  <a:tabLst/>
                  <a:defRPr sz="24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2pPr>
                <a:lvl3pPr marL="741363" indent="-173038" algn="l" defTabSz="914400" rtl="0" eaLnBrk="1" latinLnBrk="0" hangingPunct="1">
                  <a:spcBef>
                    <a:spcPts val="0"/>
                  </a:spcBef>
                  <a:spcAft>
                    <a:spcPts val="600"/>
                  </a:spcAft>
                  <a:buFont typeface="Arial" pitchFamily="34" charset="0"/>
                  <a:buChar char="•"/>
                  <a:defRPr sz="28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–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»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/>
                <a:r>
                  <a:rPr lang="en-US" sz="1800" dirty="0"/>
                  <a:t>Quality Gates</a:t>
                </a:r>
              </a:p>
            </p:txBody>
          </p:sp>
          <p:sp>
            <p:nvSpPr>
              <p:cNvPr id="58" name="Flowchart: Alternate Process 57">
                <a:extLst>
                  <a:ext uri="{FF2B5EF4-FFF2-40B4-BE49-F238E27FC236}">
                    <a16:creationId xmlns:a16="http://schemas.microsoft.com/office/drawing/2014/main" id="{184649B1-12C9-47D0-8E8A-11B2A1D952C2}"/>
                  </a:ext>
                </a:extLst>
              </p:cNvPr>
              <p:cNvSpPr/>
              <p:nvPr/>
            </p:nvSpPr>
            <p:spPr>
              <a:xfrm>
                <a:off x="712524" y="1003855"/>
                <a:ext cx="853440" cy="399270"/>
              </a:xfrm>
              <a:prstGeom prst="flowChartAlternateProcess">
                <a:avLst/>
              </a:prstGeom>
              <a:solidFill>
                <a:schemeClr val="tx2"/>
              </a:solidFill>
              <a:ln w="19050" cap="sq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900" dirty="0"/>
                  <a:t>SPS, SDS, TPS</a:t>
                </a:r>
              </a:p>
            </p:txBody>
          </p:sp>
          <p:sp>
            <p:nvSpPr>
              <p:cNvPr id="59" name="Text Placeholder 7">
                <a:extLst>
                  <a:ext uri="{FF2B5EF4-FFF2-40B4-BE49-F238E27FC236}">
                    <a16:creationId xmlns:a16="http://schemas.microsoft.com/office/drawing/2014/main" id="{06897114-FF80-46B4-866F-0F45F386BE7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640780" y="1004376"/>
                <a:ext cx="1108287" cy="186551"/>
              </a:xfrm>
              <a:prstGeom prst="rect">
                <a:avLst/>
              </a:prstGeom>
            </p:spPr>
            <p:txBody>
              <a:bodyPr wrap="square" lIns="0" tIns="0" rIns="0" bIns="0"/>
              <a:lstStyle>
                <a:lvl1pPr marL="0" indent="0" algn="l" defTabSz="914400" rtl="0" eaLnBrk="1" latinLnBrk="0" hangingPunct="1">
                  <a:spcBef>
                    <a:spcPts val="0"/>
                  </a:spcBef>
                  <a:spcAft>
                    <a:spcPts val="600"/>
                  </a:spcAft>
                  <a:buFont typeface="Arial" pitchFamily="34" charset="0"/>
                  <a:buNone/>
                  <a:defRPr sz="28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1pPr>
                <a:lvl2pPr marL="230188" indent="-230188" algn="l" defTabSz="914400" rtl="0" eaLnBrk="1" latinLnBrk="0" hangingPunct="1">
                  <a:spcBef>
                    <a:spcPts val="0"/>
                  </a:spcBef>
                  <a:spcAft>
                    <a:spcPts val="600"/>
                  </a:spcAft>
                  <a:buFont typeface="Arial" pitchFamily="34" charset="0"/>
                  <a:buChar char="•"/>
                  <a:tabLst/>
                  <a:defRPr sz="24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2pPr>
                <a:lvl3pPr marL="741363" indent="-173038" algn="l" defTabSz="914400" rtl="0" eaLnBrk="1" latinLnBrk="0" hangingPunct="1">
                  <a:spcBef>
                    <a:spcPts val="0"/>
                  </a:spcBef>
                  <a:spcAft>
                    <a:spcPts val="600"/>
                  </a:spcAft>
                  <a:buFont typeface="Arial" pitchFamily="34" charset="0"/>
                  <a:buChar char="•"/>
                  <a:defRPr sz="28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–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»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/>
                <a:r>
                  <a:rPr lang="en-US" sz="1000" dirty="0">
                    <a:solidFill>
                      <a:srgbClr val="1C7DDB"/>
                    </a:solidFill>
                  </a:rPr>
                  <a:t>Customer Level</a:t>
                </a:r>
              </a:p>
            </p:txBody>
          </p:sp>
          <p:sp>
            <p:nvSpPr>
              <p:cNvPr id="60" name="Text Placeholder 7">
                <a:extLst>
                  <a:ext uri="{FF2B5EF4-FFF2-40B4-BE49-F238E27FC236}">
                    <a16:creationId xmlns:a16="http://schemas.microsoft.com/office/drawing/2014/main" id="{18E46EBA-8AD4-4F38-96A7-DD13697FD45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648974" y="2025312"/>
                <a:ext cx="1108287" cy="186551"/>
              </a:xfrm>
              <a:prstGeom prst="rect">
                <a:avLst/>
              </a:prstGeom>
            </p:spPr>
            <p:txBody>
              <a:bodyPr wrap="square" lIns="0" tIns="0" rIns="0" bIns="0"/>
              <a:lstStyle>
                <a:lvl1pPr marL="0" indent="0" algn="l" defTabSz="914400" rtl="0" eaLnBrk="1" latinLnBrk="0" hangingPunct="1">
                  <a:spcBef>
                    <a:spcPts val="0"/>
                  </a:spcBef>
                  <a:spcAft>
                    <a:spcPts val="600"/>
                  </a:spcAft>
                  <a:buFont typeface="Arial" pitchFamily="34" charset="0"/>
                  <a:buNone/>
                  <a:defRPr sz="28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1pPr>
                <a:lvl2pPr marL="230188" indent="-230188" algn="l" defTabSz="914400" rtl="0" eaLnBrk="1" latinLnBrk="0" hangingPunct="1">
                  <a:spcBef>
                    <a:spcPts val="0"/>
                  </a:spcBef>
                  <a:spcAft>
                    <a:spcPts val="600"/>
                  </a:spcAft>
                  <a:buFont typeface="Arial" pitchFamily="34" charset="0"/>
                  <a:buChar char="•"/>
                  <a:tabLst/>
                  <a:defRPr sz="24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2pPr>
                <a:lvl3pPr marL="741363" indent="-173038" algn="l" defTabSz="914400" rtl="0" eaLnBrk="1" latinLnBrk="0" hangingPunct="1">
                  <a:spcBef>
                    <a:spcPts val="0"/>
                  </a:spcBef>
                  <a:spcAft>
                    <a:spcPts val="600"/>
                  </a:spcAft>
                  <a:buFont typeface="Arial" pitchFamily="34" charset="0"/>
                  <a:buChar char="•"/>
                  <a:defRPr sz="28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–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»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/>
                <a:r>
                  <a:rPr lang="en-US" sz="1000" dirty="0">
                    <a:solidFill>
                      <a:srgbClr val="278626"/>
                    </a:solidFill>
                  </a:rPr>
                  <a:t>Functional Level</a:t>
                </a:r>
              </a:p>
            </p:txBody>
          </p:sp>
          <p:sp>
            <p:nvSpPr>
              <p:cNvPr id="61" name="Text Placeholder 7">
                <a:extLst>
                  <a:ext uri="{FF2B5EF4-FFF2-40B4-BE49-F238E27FC236}">
                    <a16:creationId xmlns:a16="http://schemas.microsoft.com/office/drawing/2014/main" id="{4781B24F-A3A3-41B3-A882-BD6973EB499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757261" y="3023893"/>
                <a:ext cx="1108287" cy="186551"/>
              </a:xfrm>
              <a:prstGeom prst="rect">
                <a:avLst/>
              </a:prstGeom>
            </p:spPr>
            <p:txBody>
              <a:bodyPr wrap="square" lIns="0" tIns="0" rIns="0" bIns="0"/>
              <a:lstStyle>
                <a:lvl1pPr marL="0" indent="0" algn="l" defTabSz="914400" rtl="0" eaLnBrk="1" latinLnBrk="0" hangingPunct="1">
                  <a:spcBef>
                    <a:spcPts val="0"/>
                  </a:spcBef>
                  <a:spcAft>
                    <a:spcPts val="600"/>
                  </a:spcAft>
                  <a:buFont typeface="Arial" pitchFamily="34" charset="0"/>
                  <a:buNone/>
                  <a:defRPr sz="28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1pPr>
                <a:lvl2pPr marL="230188" indent="-230188" algn="l" defTabSz="914400" rtl="0" eaLnBrk="1" latinLnBrk="0" hangingPunct="1">
                  <a:spcBef>
                    <a:spcPts val="0"/>
                  </a:spcBef>
                  <a:spcAft>
                    <a:spcPts val="600"/>
                  </a:spcAft>
                  <a:buFont typeface="Arial" pitchFamily="34" charset="0"/>
                  <a:buChar char="•"/>
                  <a:tabLst/>
                  <a:defRPr sz="24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2pPr>
                <a:lvl3pPr marL="741363" indent="-173038" algn="l" defTabSz="914400" rtl="0" eaLnBrk="1" latinLnBrk="0" hangingPunct="1">
                  <a:spcBef>
                    <a:spcPts val="0"/>
                  </a:spcBef>
                  <a:spcAft>
                    <a:spcPts val="600"/>
                  </a:spcAft>
                  <a:buFont typeface="Arial" pitchFamily="34" charset="0"/>
                  <a:buChar char="•"/>
                  <a:defRPr sz="28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–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»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/>
                <a:r>
                  <a:rPr lang="en-US" sz="1000" dirty="0">
                    <a:solidFill>
                      <a:srgbClr val="9C3100"/>
                    </a:solidFill>
                  </a:rPr>
                  <a:t>Technical Level</a:t>
                </a:r>
              </a:p>
            </p:txBody>
          </p:sp>
          <p:cxnSp>
            <p:nvCxnSpPr>
              <p:cNvPr id="62" name="Straight Connector 61">
                <a:extLst>
                  <a:ext uri="{FF2B5EF4-FFF2-40B4-BE49-F238E27FC236}">
                    <a16:creationId xmlns:a16="http://schemas.microsoft.com/office/drawing/2014/main" id="{2692099B-6896-418C-826A-3BBB528899ED}"/>
                  </a:ext>
                </a:extLst>
              </p:cNvPr>
              <p:cNvCxnSpPr/>
              <p:nvPr/>
            </p:nvCxnSpPr>
            <p:spPr>
              <a:xfrm>
                <a:off x="1684013" y="1221527"/>
                <a:ext cx="4612085" cy="956281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A8731E08-6A00-463F-B326-DB551E845E20}"/>
              </a:ext>
            </a:extLst>
          </p:cNvPr>
          <p:cNvSpPr txBox="1">
            <a:spLocks/>
          </p:cNvSpPr>
          <p:nvPr/>
        </p:nvSpPr>
        <p:spPr>
          <a:xfrm>
            <a:off x="6486539" y="3582851"/>
            <a:ext cx="2729584" cy="1336139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03225" indent="-173038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tabLst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41363" indent="-173038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/>
            <a:r>
              <a:rPr lang="en-US" sz="1200" dirty="0"/>
              <a:t>STI team : </a:t>
            </a:r>
          </a:p>
          <a:p>
            <a:pPr marL="688975" lvl="1" indent="-285750" fontAlgn="auto"/>
            <a:r>
              <a:rPr lang="en-US" sz="1100" dirty="0"/>
              <a:t>Merge code change</a:t>
            </a:r>
          </a:p>
          <a:p>
            <a:pPr marL="688975" lvl="1" indent="-285750" fontAlgn="auto"/>
            <a:r>
              <a:rPr lang="en-US" sz="1100" dirty="0"/>
              <a:t>Alpha &amp; Beta Test</a:t>
            </a:r>
            <a:endParaRPr lang="en-US" sz="1100" dirty="0">
              <a:solidFill>
                <a:srgbClr val="FF0000"/>
              </a:solidFill>
            </a:endParaRPr>
          </a:p>
          <a:p>
            <a:pPr marL="285750" indent="-285750" fontAlgn="auto"/>
            <a:r>
              <a:rPr lang="en-US" sz="1200" dirty="0">
                <a:solidFill>
                  <a:schemeClr val="accent3">
                    <a:lumMod val="50000"/>
                  </a:schemeClr>
                </a:solidFill>
              </a:rPr>
              <a:t>SW Team :</a:t>
            </a:r>
          </a:p>
          <a:p>
            <a:pPr marL="688975" lvl="1" indent="-285750" fontAlgn="auto"/>
            <a:r>
              <a:rPr lang="en-US" sz="1100" dirty="0">
                <a:solidFill>
                  <a:schemeClr val="accent3">
                    <a:lumMod val="50000"/>
                  </a:schemeClr>
                </a:solidFill>
              </a:rPr>
              <a:t>SW EPDS, SW code change and SW TAR</a:t>
            </a: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4ABA8161-0168-48C4-B27A-4CE71B059C76}"/>
              </a:ext>
            </a:extLst>
          </p:cNvPr>
          <p:cNvSpPr txBox="1">
            <a:spLocks/>
          </p:cNvSpPr>
          <p:nvPr/>
        </p:nvSpPr>
        <p:spPr>
          <a:xfrm>
            <a:off x="349145" y="4044060"/>
            <a:ext cx="2729584" cy="1336139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03225" indent="-173038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tabLst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41363" indent="-173038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fontAlgn="auto"/>
            <a:r>
              <a:rPr lang="en-US" sz="1200" dirty="0">
                <a:solidFill>
                  <a:srgbClr val="FF0000"/>
                </a:solidFill>
              </a:rPr>
              <a:t>Physics : </a:t>
            </a:r>
          </a:p>
          <a:p>
            <a:pPr marL="688975" lvl="1" indent="-285750" fontAlgn="auto"/>
            <a:r>
              <a:rPr lang="en-US" sz="1100" dirty="0">
                <a:solidFill>
                  <a:srgbClr val="FF0000"/>
                </a:solidFill>
              </a:rPr>
              <a:t>Provide A4 spec, verify dev patch</a:t>
            </a:r>
          </a:p>
        </p:txBody>
      </p:sp>
    </p:spTree>
    <p:extLst>
      <p:ext uri="{BB962C8B-B14F-4D97-AF65-F5344CB8AC3E}">
        <p14:creationId xmlns:p14="http://schemas.microsoft.com/office/powerpoint/2010/main" val="130837097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5557148-64DA-42B2-BF1C-A59F34201E7B}"/>
              </a:ext>
            </a:extLst>
          </p:cNvPr>
          <p:cNvSpPr txBox="1"/>
          <p:nvPr/>
        </p:nvSpPr>
        <p:spPr>
          <a:xfrm>
            <a:off x="3000375" y="1990725"/>
            <a:ext cx="1746632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4800" dirty="0">
                <a:solidFill>
                  <a:schemeClr val="tx2"/>
                </a:solidFill>
                <a:latin typeface="+mn-lt"/>
              </a:rPr>
              <a:t>Q &amp; A </a:t>
            </a:r>
          </a:p>
        </p:txBody>
      </p:sp>
    </p:spTree>
    <p:extLst>
      <p:ext uri="{BB962C8B-B14F-4D97-AF65-F5344CB8AC3E}">
        <p14:creationId xmlns:p14="http://schemas.microsoft.com/office/powerpoint/2010/main" val="65948179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5557148-64DA-42B2-BF1C-A59F34201E7B}"/>
              </a:ext>
            </a:extLst>
          </p:cNvPr>
          <p:cNvSpPr txBox="1"/>
          <p:nvPr/>
        </p:nvSpPr>
        <p:spPr>
          <a:xfrm>
            <a:off x="3000375" y="1990725"/>
            <a:ext cx="3903313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4800" dirty="0">
                <a:solidFill>
                  <a:schemeClr val="tx2"/>
                </a:solidFill>
                <a:latin typeface="+mn-lt"/>
              </a:rPr>
              <a:t>Backup Slides</a:t>
            </a:r>
          </a:p>
        </p:txBody>
      </p:sp>
    </p:spTree>
    <p:extLst>
      <p:ext uri="{BB962C8B-B14F-4D97-AF65-F5344CB8AC3E}">
        <p14:creationId xmlns:p14="http://schemas.microsoft.com/office/powerpoint/2010/main" val="230756233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1286DBE-CEB2-4565-849E-514A7DD67CFF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/>
              <a:t>&lt;Date&gt;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DD1C49-DB6E-41E9-8055-35BCB0CCEA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noProof="0"/>
              <a:t>Slide </a:t>
            </a:r>
            <a:fld id="{1D9B13CD-33A0-446D-8703-F89F9F109F54}" type="slidenum">
              <a:rPr lang="en-US" noProof="0" smtClean="0"/>
              <a:pPr/>
              <a:t>19</a:t>
            </a:fld>
            <a:endParaRPr lang="en-US" noProof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06E22F0-1236-47CA-87A9-0D56C5766F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 Modu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4FACD11-3DDD-4AF2-9DC9-122A04D8AEC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CL Calibrations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A90A4B8A-C6FC-4ED8-8A63-A55063336322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40401" y="734400"/>
          <a:ext cx="8222204" cy="43152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18870">
                  <a:extLst>
                    <a:ext uri="{9D8B030D-6E8A-4147-A177-3AD203B41FA5}">
                      <a16:colId xmlns:a16="http://schemas.microsoft.com/office/drawing/2014/main" val="478352413"/>
                    </a:ext>
                  </a:extLst>
                </a:gridCol>
                <a:gridCol w="1751667">
                  <a:extLst>
                    <a:ext uri="{9D8B030D-6E8A-4147-A177-3AD203B41FA5}">
                      <a16:colId xmlns:a16="http://schemas.microsoft.com/office/drawing/2014/main" val="568030539"/>
                    </a:ext>
                  </a:extLst>
                </a:gridCol>
                <a:gridCol w="1751667">
                  <a:extLst>
                    <a:ext uri="{9D8B030D-6E8A-4147-A177-3AD203B41FA5}">
                      <a16:colId xmlns:a16="http://schemas.microsoft.com/office/drawing/2014/main" val="2087432273"/>
                    </a:ext>
                  </a:extLst>
                </a:gridCol>
              </a:tblGrid>
              <a:tr h="252305">
                <a:tc>
                  <a:txBody>
                    <a:bodyPr/>
                    <a:lstStyle/>
                    <a:p>
                      <a:r>
                        <a:rPr lang="en-US" sz="1400" dirty="0"/>
                        <a:t>Task Name</a:t>
                      </a:r>
                    </a:p>
                  </a:txBody>
                  <a:tcPr marT="457" marB="45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Task Number</a:t>
                      </a:r>
                    </a:p>
                  </a:txBody>
                  <a:tcPr marT="457" marB="45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Q-Tool</a:t>
                      </a:r>
                    </a:p>
                  </a:txBody>
                  <a:tcPr marT="457" marB="457"/>
                </a:tc>
                <a:extLst>
                  <a:ext uri="{0D108BD9-81ED-4DB2-BD59-A6C34878D82A}">
                    <a16:rowId xmlns:a16="http://schemas.microsoft.com/office/drawing/2014/main" val="3731737369"/>
                  </a:ext>
                </a:extLst>
              </a:tr>
              <a:tr h="268517">
                <a:tc>
                  <a:txBody>
                    <a:bodyPr/>
                    <a:lstStyle/>
                    <a:p>
                      <a:r>
                        <a:rPr lang="en-US" sz="1400" dirty="0"/>
                        <a:t>Calibrate Illumination Spectrometer Wavelength Coarse</a:t>
                      </a:r>
                    </a:p>
                  </a:txBody>
                  <a:tcPr marT="457" marB="45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600</a:t>
                      </a:r>
                    </a:p>
                  </a:txBody>
                  <a:tcPr marT="457" marB="45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613</a:t>
                      </a:r>
                    </a:p>
                  </a:txBody>
                  <a:tcPr marT="457" marB="457"/>
                </a:tc>
                <a:extLst>
                  <a:ext uri="{0D108BD9-81ED-4DB2-BD59-A6C34878D82A}">
                    <a16:rowId xmlns:a16="http://schemas.microsoft.com/office/drawing/2014/main" val="3551001898"/>
                  </a:ext>
                </a:extLst>
              </a:tr>
              <a:tr h="252305">
                <a:tc>
                  <a:txBody>
                    <a:bodyPr/>
                    <a:lstStyle/>
                    <a:p>
                      <a:r>
                        <a:rPr lang="en-US" sz="1400" dirty="0"/>
                        <a:t>Calibrate Illumination Wavelength Home Offset</a:t>
                      </a:r>
                    </a:p>
                  </a:txBody>
                  <a:tcPr marT="457" marB="45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605</a:t>
                      </a:r>
                    </a:p>
                  </a:txBody>
                  <a:tcPr marT="457" marB="45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605</a:t>
                      </a:r>
                    </a:p>
                  </a:txBody>
                  <a:tcPr marT="457" marB="457"/>
                </a:tc>
                <a:extLst>
                  <a:ext uri="{0D108BD9-81ED-4DB2-BD59-A6C34878D82A}">
                    <a16:rowId xmlns:a16="http://schemas.microsoft.com/office/drawing/2014/main" val="3769386997"/>
                  </a:ext>
                </a:extLst>
              </a:tr>
              <a:tr h="252305">
                <a:tc>
                  <a:txBody>
                    <a:bodyPr/>
                    <a:lstStyle/>
                    <a:p>
                      <a:r>
                        <a:rPr lang="en-US" sz="1400" dirty="0"/>
                        <a:t>Calibrate Illumination Spectrometer DC Offset </a:t>
                      </a:r>
                    </a:p>
                  </a:txBody>
                  <a:tcPr marT="457" marB="45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604</a:t>
                      </a:r>
                    </a:p>
                  </a:txBody>
                  <a:tcPr marT="457" marB="45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616</a:t>
                      </a:r>
                    </a:p>
                  </a:txBody>
                  <a:tcPr marT="457" marB="457"/>
                </a:tc>
                <a:extLst>
                  <a:ext uri="{0D108BD9-81ED-4DB2-BD59-A6C34878D82A}">
                    <a16:rowId xmlns:a16="http://schemas.microsoft.com/office/drawing/2014/main" val="2055239344"/>
                  </a:ext>
                </a:extLst>
              </a:tr>
              <a:tr h="252305">
                <a:tc>
                  <a:txBody>
                    <a:bodyPr/>
                    <a:lstStyle/>
                    <a:p>
                      <a:r>
                        <a:rPr lang="en-US" sz="1400" dirty="0"/>
                        <a:t>Check Illumination Spectrometer DC Offset</a:t>
                      </a:r>
                    </a:p>
                  </a:txBody>
                  <a:tcPr marT="457" marB="45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623</a:t>
                      </a:r>
                    </a:p>
                  </a:txBody>
                  <a:tcPr marT="457" marB="45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624</a:t>
                      </a:r>
                    </a:p>
                  </a:txBody>
                  <a:tcPr marT="457" marB="457"/>
                </a:tc>
                <a:extLst>
                  <a:ext uri="{0D108BD9-81ED-4DB2-BD59-A6C34878D82A}">
                    <a16:rowId xmlns:a16="http://schemas.microsoft.com/office/drawing/2014/main" val="3548638894"/>
                  </a:ext>
                </a:extLst>
              </a:tr>
              <a:tr h="252305">
                <a:tc>
                  <a:txBody>
                    <a:bodyPr/>
                    <a:lstStyle/>
                    <a:p>
                      <a:r>
                        <a:rPr lang="en-US" sz="1400" dirty="0"/>
                        <a:t>Calibrate Illumination Spectrometer Non-Linearity</a:t>
                      </a:r>
                    </a:p>
                  </a:txBody>
                  <a:tcPr marT="457" marB="45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611</a:t>
                      </a:r>
                    </a:p>
                  </a:txBody>
                  <a:tcPr marT="457" marB="45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617</a:t>
                      </a:r>
                    </a:p>
                  </a:txBody>
                  <a:tcPr marT="457" marB="457"/>
                </a:tc>
                <a:extLst>
                  <a:ext uri="{0D108BD9-81ED-4DB2-BD59-A6C34878D82A}">
                    <a16:rowId xmlns:a16="http://schemas.microsoft.com/office/drawing/2014/main" val="1777255710"/>
                  </a:ext>
                </a:extLst>
              </a:tr>
              <a:tr h="252305">
                <a:tc>
                  <a:txBody>
                    <a:bodyPr/>
                    <a:lstStyle/>
                    <a:p>
                      <a:r>
                        <a:rPr lang="en-US" sz="1400" dirty="0"/>
                        <a:t>Calibrate Illumination Spectrometer Irradiations</a:t>
                      </a:r>
                    </a:p>
                  </a:txBody>
                  <a:tcPr marT="457" marB="45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612</a:t>
                      </a:r>
                    </a:p>
                  </a:txBody>
                  <a:tcPr marT="457" marB="45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618</a:t>
                      </a:r>
                    </a:p>
                  </a:txBody>
                  <a:tcPr marT="457" marB="457"/>
                </a:tc>
                <a:extLst>
                  <a:ext uri="{0D108BD9-81ED-4DB2-BD59-A6C34878D82A}">
                    <a16:rowId xmlns:a16="http://schemas.microsoft.com/office/drawing/2014/main" val="552535100"/>
                  </a:ext>
                </a:extLst>
              </a:tr>
              <a:tr h="252305">
                <a:tc>
                  <a:txBody>
                    <a:bodyPr/>
                    <a:lstStyle/>
                    <a:p>
                      <a:r>
                        <a:rPr lang="en-US" sz="1400" dirty="0"/>
                        <a:t>Calibrate Illumination Spectrometer Wavelength Fine</a:t>
                      </a:r>
                    </a:p>
                  </a:txBody>
                  <a:tcPr marT="457" marB="45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619</a:t>
                      </a:r>
                    </a:p>
                  </a:txBody>
                  <a:tcPr marT="457" marB="45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620</a:t>
                      </a:r>
                    </a:p>
                  </a:txBody>
                  <a:tcPr marT="457" marB="457"/>
                </a:tc>
                <a:extLst>
                  <a:ext uri="{0D108BD9-81ED-4DB2-BD59-A6C34878D82A}">
                    <a16:rowId xmlns:a16="http://schemas.microsoft.com/office/drawing/2014/main" val="1884959820"/>
                  </a:ext>
                </a:extLst>
              </a:tr>
              <a:tr h="252305">
                <a:tc>
                  <a:txBody>
                    <a:bodyPr/>
                    <a:lstStyle/>
                    <a:p>
                      <a:r>
                        <a:rPr lang="en-US" sz="1400" dirty="0"/>
                        <a:t>Check Illumination Spectrometer Wavelength Fine</a:t>
                      </a:r>
                    </a:p>
                  </a:txBody>
                  <a:tcPr marT="457" marB="45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626</a:t>
                      </a:r>
                    </a:p>
                  </a:txBody>
                  <a:tcPr marT="457" marB="45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627</a:t>
                      </a:r>
                    </a:p>
                  </a:txBody>
                  <a:tcPr marT="457" marB="457"/>
                </a:tc>
                <a:extLst>
                  <a:ext uri="{0D108BD9-81ED-4DB2-BD59-A6C34878D82A}">
                    <a16:rowId xmlns:a16="http://schemas.microsoft.com/office/drawing/2014/main" val="391022999"/>
                  </a:ext>
                </a:extLst>
              </a:tr>
              <a:tr h="262170">
                <a:tc>
                  <a:txBody>
                    <a:bodyPr/>
                    <a:lstStyle/>
                    <a:p>
                      <a:r>
                        <a:rPr lang="en-US" sz="1400" dirty="0"/>
                        <a:t>Calibrate Illumination Encoder Position to Wavelength</a:t>
                      </a:r>
                    </a:p>
                  </a:txBody>
                  <a:tcPr marT="457" marB="45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602</a:t>
                      </a:r>
                    </a:p>
                  </a:txBody>
                  <a:tcPr marT="457" marB="45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602</a:t>
                      </a:r>
                    </a:p>
                  </a:txBody>
                  <a:tcPr marT="457" marB="457"/>
                </a:tc>
                <a:extLst>
                  <a:ext uri="{0D108BD9-81ED-4DB2-BD59-A6C34878D82A}">
                    <a16:rowId xmlns:a16="http://schemas.microsoft.com/office/drawing/2014/main" val="3226388608"/>
                  </a:ext>
                </a:extLst>
              </a:tr>
              <a:tr h="252305">
                <a:tc>
                  <a:txBody>
                    <a:bodyPr/>
                    <a:lstStyle/>
                    <a:p>
                      <a:r>
                        <a:rPr lang="en-US" sz="1400" dirty="0"/>
                        <a:t>Check Illumination Encoder Position To Wavelength </a:t>
                      </a:r>
                    </a:p>
                  </a:txBody>
                  <a:tcPr marT="457" marB="45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625</a:t>
                      </a:r>
                    </a:p>
                  </a:txBody>
                  <a:tcPr marT="457" marB="45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625</a:t>
                      </a:r>
                    </a:p>
                  </a:txBody>
                  <a:tcPr marT="457" marB="457"/>
                </a:tc>
                <a:extLst>
                  <a:ext uri="{0D108BD9-81ED-4DB2-BD59-A6C34878D82A}">
                    <a16:rowId xmlns:a16="http://schemas.microsoft.com/office/drawing/2014/main" val="861239002"/>
                  </a:ext>
                </a:extLst>
              </a:tr>
              <a:tr h="252305">
                <a:tc>
                  <a:txBody>
                    <a:bodyPr/>
                    <a:lstStyle/>
                    <a:p>
                      <a:r>
                        <a:rPr lang="en-US" sz="1400" dirty="0"/>
                        <a:t>Calibrate Illumination ND Filter Position</a:t>
                      </a:r>
                    </a:p>
                  </a:txBody>
                  <a:tcPr marT="457" marB="45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601</a:t>
                      </a:r>
                    </a:p>
                  </a:txBody>
                  <a:tcPr marT="457" marB="45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601</a:t>
                      </a:r>
                    </a:p>
                  </a:txBody>
                  <a:tcPr marT="457" marB="457"/>
                </a:tc>
                <a:extLst>
                  <a:ext uri="{0D108BD9-81ED-4DB2-BD59-A6C34878D82A}">
                    <a16:rowId xmlns:a16="http://schemas.microsoft.com/office/drawing/2014/main" val="914711672"/>
                  </a:ext>
                </a:extLst>
              </a:tr>
              <a:tr h="252305">
                <a:tc>
                  <a:txBody>
                    <a:bodyPr/>
                    <a:lstStyle/>
                    <a:p>
                      <a:r>
                        <a:rPr lang="en-US" sz="1400" dirty="0"/>
                        <a:t>Calibrate Illumination Wavelength Offset</a:t>
                      </a:r>
                    </a:p>
                  </a:txBody>
                  <a:tcPr marT="457" marB="45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603</a:t>
                      </a:r>
                    </a:p>
                  </a:txBody>
                  <a:tcPr marT="457" marB="45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603</a:t>
                      </a:r>
                    </a:p>
                  </a:txBody>
                  <a:tcPr marT="457" marB="457"/>
                </a:tc>
                <a:extLst>
                  <a:ext uri="{0D108BD9-81ED-4DB2-BD59-A6C34878D82A}">
                    <a16:rowId xmlns:a16="http://schemas.microsoft.com/office/drawing/2014/main" val="3213630163"/>
                  </a:ext>
                </a:extLst>
              </a:tr>
              <a:tr h="252305">
                <a:tc>
                  <a:txBody>
                    <a:bodyPr/>
                    <a:lstStyle/>
                    <a:p>
                      <a:r>
                        <a:rPr lang="en-US" sz="1400" dirty="0"/>
                        <a:t>Check Illumination CLM Spectral</a:t>
                      </a:r>
                    </a:p>
                  </a:txBody>
                  <a:tcPr marT="457" marB="45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630</a:t>
                      </a:r>
                    </a:p>
                  </a:txBody>
                  <a:tcPr marT="457" marB="45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630</a:t>
                      </a:r>
                    </a:p>
                  </a:txBody>
                  <a:tcPr marT="457" marB="457"/>
                </a:tc>
                <a:extLst>
                  <a:ext uri="{0D108BD9-81ED-4DB2-BD59-A6C34878D82A}">
                    <a16:rowId xmlns:a16="http://schemas.microsoft.com/office/drawing/2014/main" val="4187604463"/>
                  </a:ext>
                </a:extLst>
              </a:tr>
              <a:tr h="252305">
                <a:tc>
                  <a:txBody>
                    <a:bodyPr/>
                    <a:lstStyle/>
                    <a:p>
                      <a:r>
                        <a:rPr lang="en-US" sz="1400" i="0" dirty="0"/>
                        <a:t>Check Illumination Spectrometer</a:t>
                      </a:r>
                    </a:p>
                  </a:txBody>
                  <a:tcPr marT="457" marB="45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i="0" dirty="0"/>
                        <a:t>628</a:t>
                      </a:r>
                    </a:p>
                  </a:txBody>
                  <a:tcPr marT="457" marB="45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i="0" dirty="0"/>
                        <a:t>629</a:t>
                      </a:r>
                    </a:p>
                  </a:txBody>
                  <a:tcPr marT="457" marB="457"/>
                </a:tc>
                <a:extLst>
                  <a:ext uri="{0D108BD9-81ED-4DB2-BD59-A6C34878D82A}">
                    <a16:rowId xmlns:a16="http://schemas.microsoft.com/office/drawing/2014/main" val="476090721"/>
                  </a:ext>
                </a:extLst>
              </a:tr>
              <a:tr h="252305">
                <a:tc>
                  <a:txBody>
                    <a:bodyPr/>
                    <a:lstStyle/>
                    <a:p>
                      <a:r>
                        <a:rPr lang="en-US" sz="1400" i="0" dirty="0"/>
                        <a:t>Integration Time Determination Coarse</a:t>
                      </a:r>
                    </a:p>
                  </a:txBody>
                  <a:tcPr marT="457" marB="45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i="0" dirty="0"/>
                        <a:t>609</a:t>
                      </a:r>
                    </a:p>
                  </a:txBody>
                  <a:tcPr marT="457" marB="45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i="0" dirty="0"/>
                        <a:t>609</a:t>
                      </a:r>
                    </a:p>
                  </a:txBody>
                  <a:tcPr marT="457" marB="457"/>
                </a:tc>
                <a:extLst>
                  <a:ext uri="{0D108BD9-81ED-4DB2-BD59-A6C34878D82A}">
                    <a16:rowId xmlns:a16="http://schemas.microsoft.com/office/drawing/2014/main" val="2116262099"/>
                  </a:ext>
                </a:extLst>
              </a:tr>
              <a:tr h="25230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i="0" dirty="0"/>
                        <a:t>Integration Time Determination Fine</a:t>
                      </a:r>
                    </a:p>
                  </a:txBody>
                  <a:tcPr marT="457" marB="457"/>
                </a:tc>
                <a:tc>
                  <a:txBody>
                    <a:bodyPr/>
                    <a:lstStyle/>
                    <a:p>
                      <a:pPr algn="ctr"/>
                      <a:endParaRPr lang="en-US" sz="1400" i="0" dirty="0"/>
                    </a:p>
                  </a:txBody>
                  <a:tcPr marT="457" marB="457"/>
                </a:tc>
                <a:tc>
                  <a:txBody>
                    <a:bodyPr/>
                    <a:lstStyle/>
                    <a:p>
                      <a:pPr algn="ctr"/>
                      <a:endParaRPr lang="en-US" sz="1400" i="0" dirty="0"/>
                    </a:p>
                  </a:txBody>
                  <a:tcPr marT="457" marB="457"/>
                </a:tc>
                <a:extLst>
                  <a:ext uri="{0D108BD9-81ED-4DB2-BD59-A6C34878D82A}">
                    <a16:rowId xmlns:a16="http://schemas.microsoft.com/office/drawing/2014/main" val="40978353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966457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9CB0EDA-46AD-4AEB-A2F1-D470E1D8326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>
                <a:hlinkClick r:id="rId2" action="ppaction://hlinksldjump"/>
              </a:rPr>
              <a:t>YieldStar</a:t>
            </a:r>
            <a:r>
              <a:rPr lang="en-US" dirty="0">
                <a:hlinkClick r:id="rId2" action="ppaction://hlinksldjump"/>
              </a:rPr>
              <a:t> Metrology</a:t>
            </a:r>
            <a:endParaRPr lang="en-US" dirty="0"/>
          </a:p>
          <a:p>
            <a:r>
              <a:rPr lang="en-US" dirty="0">
                <a:hlinkClick r:id="rId3" action="ppaction://hlinksldjump"/>
              </a:rPr>
              <a:t>TM Task(ACPD)</a:t>
            </a:r>
            <a:endParaRPr lang="en-US" dirty="0"/>
          </a:p>
          <a:p>
            <a:r>
              <a:rPr lang="en-US" dirty="0">
                <a:hlinkClick r:id="rId4" action="ppaction://hlinksldjump"/>
              </a:rPr>
              <a:t>Source project overview</a:t>
            </a:r>
            <a:endParaRPr lang="en-US" dirty="0"/>
          </a:p>
          <a:p>
            <a:r>
              <a:rPr lang="en-US" dirty="0">
                <a:hlinkClick r:id="rId5" action="ppaction://hlinksldjump"/>
              </a:rPr>
              <a:t>V-model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ED00AD-B8E4-4525-A5D2-F35D6157BC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Agenda	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11DD3A4-A10F-443B-ADF0-DA8500DE2B8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/>
              <a:t>&lt;Date&gt;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3900915-9BD4-4EFF-A072-AF2054F31A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noProof="0"/>
              <a:t>Slide </a:t>
            </a:r>
            <a:fld id="{1D9B13CD-33A0-446D-8703-F89F9F109F54}" type="slidenum">
              <a:rPr lang="en-US" noProof="0" smtClean="0"/>
              <a:pPr/>
              <a:t>2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46699254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2B1CBD1-43A1-4299-A23A-7DA6D37B357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2000" dirty="0" err="1">
                <a:hlinkClick r:id="rId2" action="ppaction://hlinksldjump"/>
              </a:rPr>
              <a:t>LampModuleControllerTool</a:t>
            </a:r>
            <a:r>
              <a:rPr lang="en-US" sz="2000" dirty="0">
                <a:hlinkClick r:id="rId2" action="ppaction://hlinksldjump"/>
              </a:rPr>
              <a:t> – details</a:t>
            </a:r>
            <a:endParaRPr lang="en-US" sz="2000" dirty="0"/>
          </a:p>
          <a:p>
            <a:r>
              <a:rPr lang="en-US" sz="2000" dirty="0">
                <a:hlinkClick r:id="rId3" action="ppaction://hlinksldjump"/>
              </a:rPr>
              <a:t>CLM Tasks</a:t>
            </a:r>
            <a:endParaRPr lang="en-US" sz="2000" dirty="0"/>
          </a:p>
          <a:p>
            <a:r>
              <a:rPr lang="en-US" sz="2000" dirty="0" err="1">
                <a:hlinkClick r:id="rId4" action="ppaction://hlinksldjump"/>
              </a:rPr>
              <a:t>Autofac</a:t>
            </a:r>
            <a:endParaRPr lang="en-US" sz="2000" dirty="0"/>
          </a:p>
          <a:p>
            <a:r>
              <a:rPr lang="en-US" sz="2000" dirty="0">
                <a:hlinkClick r:id="rId5" action="ppaction://hlinksldjump"/>
              </a:rPr>
              <a:t>LPPS </a:t>
            </a:r>
            <a:r>
              <a:rPr lang="en-US" sz="2000" dirty="0" err="1">
                <a:hlinkClick r:id="rId5" action="ppaction://hlinksldjump"/>
              </a:rPr>
              <a:t>PowerOnSequence</a:t>
            </a:r>
            <a:endParaRPr lang="en-US" sz="2000" dirty="0"/>
          </a:p>
          <a:p>
            <a:r>
              <a:rPr lang="en-US" sz="2000" dirty="0" err="1">
                <a:hlinkClick r:id="rId6" action="ppaction://hlinksldjump"/>
              </a:rPr>
              <a:t>Caliburn</a:t>
            </a:r>
            <a:endParaRPr lang="en-US" sz="2000" dirty="0"/>
          </a:p>
          <a:p>
            <a:r>
              <a:rPr lang="en-US" sz="2000" dirty="0">
                <a:hlinkClick r:id="rId7" action="ppaction://hlinksldjump"/>
              </a:rPr>
              <a:t>Contract Example</a:t>
            </a:r>
            <a:endParaRPr lang="en-US" sz="2000" dirty="0"/>
          </a:p>
          <a:p>
            <a:r>
              <a:rPr lang="en-US" sz="2000" dirty="0">
                <a:hlinkClick r:id="rId8" action="ppaction://hlinksldjump"/>
              </a:rPr>
              <a:t>Sensor Assembly</a:t>
            </a:r>
            <a:endParaRPr lang="en-US" sz="2000" dirty="0"/>
          </a:p>
          <a:p>
            <a:r>
              <a:rPr lang="en-US" sz="2000" dirty="0">
                <a:hlinkClick r:id="rId9" action="ppaction://hlinksldjump"/>
              </a:rPr>
              <a:t>DP : Simple factory</a:t>
            </a:r>
            <a:endParaRPr lang="en-US" sz="20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11F25B-A2FD-4092-B89B-377AE1D65E5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Back up slid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7222839-9A27-4DF9-84BD-797683D626BF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/>
              <a:t>&lt;Date&gt;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00EF475-B06B-4898-8050-A5B27127C9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noProof="0"/>
              <a:t>Slide </a:t>
            </a:r>
            <a:fld id="{1D9B13CD-33A0-446D-8703-F89F9F109F54}" type="slidenum">
              <a:rPr lang="en-US" noProof="0" smtClean="0"/>
              <a:pPr/>
              <a:t>20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29867699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9AB8FF-40F7-4394-A850-56AFEE977E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520" y="347472"/>
            <a:ext cx="7365588" cy="557022"/>
          </a:xfrm>
        </p:spPr>
        <p:txBody>
          <a:bodyPr/>
          <a:lstStyle/>
          <a:p>
            <a:r>
              <a:rPr lang="en-US" dirty="0"/>
              <a:t>Light Source Control Softwa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710985-C9C6-4E33-8AAB-D6AECC1530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9E589B-AAA2-4E83-AFD3-2993C58A57EE}" type="datetime3">
              <a:rPr lang="en-US" smtClean="0"/>
              <a:pPr/>
              <a:t>1 May 20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5C4F39-7493-4F6E-A794-5900C46781A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48117B-D08E-4A7E-A2A1-4BA730F8FBF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/>
              <a:t>Slide </a:t>
            </a:r>
            <a:fld id="{2BF23E3A-8558-42B9-AEEE-59D910584A16}" type="slidenum">
              <a:rPr lang="en-US" smtClean="0"/>
              <a:pPr/>
              <a:t>21</a:t>
            </a:fld>
            <a:endParaRPr lang="en-US" dirty="0"/>
          </a:p>
        </p:txBody>
      </p:sp>
      <p:pic>
        <p:nvPicPr>
          <p:cNvPr id="2051" name="Picture 3">
            <a:extLst>
              <a:ext uri="{FF2B5EF4-FFF2-40B4-BE49-F238E27FC236}">
                <a16:creationId xmlns:a16="http://schemas.microsoft.com/office/drawing/2014/main" id="{0E088A58-9420-4FCF-A36D-7CD72F651C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288" y="802442"/>
            <a:ext cx="6019800" cy="409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6197224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B9034A-DD2C-4A72-A543-10D8D975D1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E5699D3-EE38-43B6-87FA-4D51C0249CE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8E43F95-B8FD-4722-B3C5-DA06E630B7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9E589B-AAA2-4E83-AFD3-2993C58A57EE}" type="datetime3">
              <a:rPr lang="en-US" smtClean="0"/>
              <a:pPr/>
              <a:t>1 May 20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239BBF-6EB6-48D4-9764-3BFED74F468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DDC1EE5-1C82-40A5-9F42-D1CD8850C70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/>
              <a:t>Slide </a:t>
            </a:r>
            <a:fld id="{2BF23E3A-8558-42B9-AEEE-59D910584A16}" type="slidenum">
              <a:rPr lang="en-US" smtClean="0"/>
              <a:pPr/>
              <a:t>22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FD5ACCA-5C12-415F-9401-8D3BF9E6F4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7739" y="1069848"/>
            <a:ext cx="7108521" cy="3780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4167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608041-607C-4927-8421-38659CABAC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Caliburn.Micro</a:t>
            </a:r>
            <a:r>
              <a:rPr lang="en-US" dirty="0"/>
              <a:t>;</a:t>
            </a:r>
            <a:br>
              <a:rPr lang="en-US" dirty="0"/>
            </a:b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5CDE37-8F44-46DB-A179-F84C4B374C3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C124BF3-A174-4FBE-8BE6-5E01D4E7DC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9E589B-AAA2-4E83-AFD3-2993C58A57EE}" type="datetime3">
              <a:rPr lang="en-US" smtClean="0"/>
              <a:pPr/>
              <a:t>1 May 20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00B678-E916-477D-845F-CDF544569B6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0EF057-D33B-4B3E-84F5-0812CBE13CE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/>
              <a:t>Slide </a:t>
            </a:r>
            <a:fld id="{2BF23E3A-8558-42B9-AEEE-59D910584A16}" type="slidenum">
              <a:rPr lang="en-US" smtClean="0"/>
              <a:pPr/>
              <a:t>23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94FC816-7823-4F9E-89F5-E2F62D3A10A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4398" y="862398"/>
            <a:ext cx="5752913" cy="4147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385540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CF550E7-106D-4089-9AD8-0E89094878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189"/>
            <a:r>
              <a:rPr lang="en-US">
                <a:solidFill>
                  <a:srgbClr val="0F238C"/>
                </a:solidFill>
                <a:latin typeface="Arial"/>
                <a:ea typeface="MS PGothic" pitchFamily="34" charset="-128"/>
              </a:rPr>
              <a:t>&lt;Date&gt;</a:t>
            </a:r>
            <a:endParaRPr lang="en-US" dirty="0">
              <a:solidFill>
                <a:srgbClr val="0F238C"/>
              </a:solidFill>
              <a:latin typeface="Arial"/>
              <a:ea typeface="MS PGothic" pitchFamily="34" charset="-128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FE01E01-BEE5-4398-9E1B-D40E25BDC98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457189"/>
            <a:r>
              <a:rPr lang="en-US">
                <a:solidFill>
                  <a:srgbClr val="0F238C"/>
                </a:solidFill>
                <a:latin typeface="Arial"/>
                <a:ea typeface="MS PGothic" pitchFamily="34" charset="-128"/>
              </a:rPr>
              <a:t>Slide </a:t>
            </a:r>
            <a:fld id="{1D9B13CD-33A0-446D-8703-F89F9F109F54}" type="slidenum">
              <a:rPr lang="en-US">
                <a:solidFill>
                  <a:srgbClr val="0F238C"/>
                </a:solidFill>
                <a:latin typeface="Arial"/>
                <a:ea typeface="MS PGothic" pitchFamily="34" charset="-128"/>
              </a:rPr>
              <a:pPr defTabSz="457189"/>
              <a:t>24</a:t>
            </a:fld>
            <a:endParaRPr lang="en-US" dirty="0">
              <a:solidFill>
                <a:srgbClr val="0F238C"/>
              </a:solidFill>
              <a:latin typeface="Arial"/>
              <a:ea typeface="MS PGothic" pitchFamily="34" charset="-128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10102E-6E80-424C-A796-70D5BCE41A9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457189"/>
            <a:r>
              <a:rPr lang="en-US">
                <a:solidFill>
                  <a:srgbClr val="0F238C"/>
                </a:solidFill>
                <a:latin typeface="Arial"/>
                <a:ea typeface="MS PGothic" pitchFamily="34" charset="-128"/>
              </a:rPr>
              <a:t>Confidential</a:t>
            </a:r>
            <a:endParaRPr lang="en-US" dirty="0">
              <a:solidFill>
                <a:srgbClr val="0F238C"/>
              </a:solidFill>
              <a:latin typeface="Arial"/>
              <a:ea typeface="MS PGothic" pitchFamily="34" charset="-128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D799D2B-BCE1-43D0-B350-4DA2CBB1F6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M Tasks</a:t>
            </a:r>
          </a:p>
        </p:txBody>
      </p: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F0F4C7C7-A58B-4357-9E33-8081B660B2FA}"/>
              </a:ext>
            </a:extLst>
          </p:cNvPr>
          <p:cNvCxnSpPr>
            <a:cxnSpLocks/>
          </p:cNvCxnSpPr>
          <p:nvPr/>
        </p:nvCxnSpPr>
        <p:spPr>
          <a:xfrm rot="16200000" flipH="1">
            <a:off x="4486653" y="2974625"/>
            <a:ext cx="357343" cy="662483"/>
          </a:xfrm>
          <a:prstGeom prst="bentConnector2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1D871774-42B0-4C49-95CD-5DE9525D2B6F}"/>
              </a:ext>
            </a:extLst>
          </p:cNvPr>
          <p:cNvSpPr/>
          <p:nvPr/>
        </p:nvSpPr>
        <p:spPr>
          <a:xfrm>
            <a:off x="6777302" y="1392374"/>
            <a:ext cx="898758" cy="463296"/>
          </a:xfrm>
          <a:prstGeom prst="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/>
            <a:r>
              <a:rPr lang="en-US" sz="1000" dirty="0">
                <a:solidFill>
                  <a:srgbClr val="FFFFFF"/>
                </a:solidFill>
                <a:latin typeface="Arial"/>
              </a:rPr>
              <a:t>Task 616</a:t>
            </a:r>
          </a:p>
          <a:p>
            <a:pPr algn="ctr" defTabSz="457189"/>
            <a:r>
              <a:rPr lang="en-US" sz="1000" dirty="0">
                <a:solidFill>
                  <a:srgbClr val="FFFFFF"/>
                </a:solidFill>
                <a:latin typeface="Arial"/>
              </a:rPr>
              <a:t>DC offse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0DD764D-F217-4007-AD74-72C3769CF78B}"/>
              </a:ext>
            </a:extLst>
          </p:cNvPr>
          <p:cNvSpPr/>
          <p:nvPr/>
        </p:nvSpPr>
        <p:spPr>
          <a:xfrm>
            <a:off x="7825434" y="1392374"/>
            <a:ext cx="898764" cy="463296"/>
          </a:xfrm>
          <a:prstGeom prst="rect">
            <a:avLst/>
          </a:prstGeom>
          <a:solidFill>
            <a:schemeClr val="accent3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/>
            <a:r>
              <a:rPr lang="en-US" sz="1000" dirty="0">
                <a:solidFill>
                  <a:schemeClr val="bg1"/>
                </a:solidFill>
                <a:latin typeface="Arial"/>
              </a:rPr>
              <a:t>Task 624</a:t>
            </a:r>
          </a:p>
          <a:p>
            <a:pPr algn="ctr" defTabSz="457189"/>
            <a:r>
              <a:rPr lang="en-US" sz="1000" dirty="0">
                <a:solidFill>
                  <a:schemeClr val="bg1"/>
                </a:solidFill>
                <a:latin typeface="Arial"/>
              </a:rPr>
              <a:t>DC offset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D0A3D8E-456A-42D9-9190-CC21FC7F7EF2}"/>
              </a:ext>
            </a:extLst>
          </p:cNvPr>
          <p:cNvSpPr/>
          <p:nvPr/>
        </p:nvSpPr>
        <p:spPr>
          <a:xfrm>
            <a:off x="7317185" y="2002357"/>
            <a:ext cx="898758" cy="463296"/>
          </a:xfrm>
          <a:prstGeom prst="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/>
            <a:r>
              <a:rPr lang="en-US" sz="1000" dirty="0">
                <a:solidFill>
                  <a:srgbClr val="FFFFFF"/>
                </a:solidFill>
                <a:latin typeface="Arial"/>
              </a:rPr>
              <a:t>Task 618</a:t>
            </a:r>
          </a:p>
          <a:p>
            <a:pPr algn="ctr" defTabSz="457189"/>
            <a:r>
              <a:rPr lang="en-US" sz="1000" dirty="0">
                <a:solidFill>
                  <a:srgbClr val="FFFFFF"/>
                </a:solidFill>
                <a:latin typeface="Arial"/>
              </a:rPr>
              <a:t>Irradianc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BA14C04-5A33-4A09-886A-F901D48DE9B3}"/>
              </a:ext>
            </a:extLst>
          </p:cNvPr>
          <p:cNvSpPr/>
          <p:nvPr/>
        </p:nvSpPr>
        <p:spPr>
          <a:xfrm>
            <a:off x="6777302" y="2743147"/>
            <a:ext cx="898758" cy="463296"/>
          </a:xfrm>
          <a:prstGeom prst="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/>
            <a:r>
              <a:rPr lang="en-US" sz="1000" dirty="0">
                <a:solidFill>
                  <a:srgbClr val="FFFFFF"/>
                </a:solidFill>
                <a:latin typeface="Arial"/>
              </a:rPr>
              <a:t>Task 620</a:t>
            </a:r>
          </a:p>
          <a:p>
            <a:pPr algn="ctr" defTabSz="457189"/>
            <a:r>
              <a:rPr lang="en-US" sz="1000" dirty="0">
                <a:solidFill>
                  <a:srgbClr val="FFFFFF"/>
                </a:solidFill>
                <a:latin typeface="Arial"/>
              </a:rPr>
              <a:t>WL fin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902E0CC-B2BA-414F-976B-316CDFE86524}"/>
              </a:ext>
            </a:extLst>
          </p:cNvPr>
          <p:cNvSpPr/>
          <p:nvPr/>
        </p:nvSpPr>
        <p:spPr>
          <a:xfrm>
            <a:off x="7825434" y="2743147"/>
            <a:ext cx="898764" cy="463296"/>
          </a:xfrm>
          <a:prstGeom prst="rect">
            <a:avLst/>
          </a:prstGeom>
          <a:solidFill>
            <a:srgbClr val="FF7F45"/>
          </a:solidFill>
          <a:ln>
            <a:solidFill>
              <a:srgbClr val="C0000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/>
            <a:r>
              <a:rPr lang="en-US" sz="1000" dirty="0">
                <a:solidFill>
                  <a:schemeClr val="bg1"/>
                </a:solidFill>
                <a:latin typeface="Arial"/>
              </a:rPr>
              <a:t>Task 627</a:t>
            </a:r>
          </a:p>
          <a:p>
            <a:pPr algn="ctr" defTabSz="457189"/>
            <a:r>
              <a:rPr lang="en-US" sz="1000" dirty="0">
                <a:solidFill>
                  <a:schemeClr val="bg1"/>
                </a:solidFill>
                <a:latin typeface="Arial"/>
              </a:rPr>
              <a:t>WL fin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0B3C368-BBFB-444A-BF1A-A2864BA6A7BC}"/>
              </a:ext>
            </a:extLst>
          </p:cNvPr>
          <p:cNvSpPr/>
          <p:nvPr/>
        </p:nvSpPr>
        <p:spPr>
          <a:xfrm>
            <a:off x="7825434" y="3333043"/>
            <a:ext cx="898764" cy="463296"/>
          </a:xfrm>
          <a:prstGeom prst="rect">
            <a:avLst/>
          </a:prstGeom>
          <a:solidFill>
            <a:srgbClr val="FF7F45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/>
            <a:r>
              <a:rPr lang="en-US" sz="1000" dirty="0">
                <a:solidFill>
                  <a:schemeClr val="bg1"/>
                </a:solidFill>
                <a:latin typeface="Arial"/>
              </a:rPr>
              <a:t>Task 629</a:t>
            </a:r>
          </a:p>
          <a:p>
            <a:pPr algn="ctr" defTabSz="457189"/>
            <a:r>
              <a:rPr lang="en-US" sz="1000" dirty="0">
                <a:solidFill>
                  <a:schemeClr val="bg1"/>
                </a:solidFill>
                <a:latin typeface="Arial"/>
              </a:rPr>
              <a:t>Spectrometer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5DA23922-5B4E-4A1F-816F-A948975D8877}"/>
              </a:ext>
            </a:extLst>
          </p:cNvPr>
          <p:cNvCxnSpPr>
            <a:cxnSpLocks/>
            <a:stCxn id="9" idx="3"/>
            <a:endCxn id="10" idx="1"/>
          </p:cNvCxnSpPr>
          <p:nvPr/>
        </p:nvCxnSpPr>
        <p:spPr>
          <a:xfrm>
            <a:off x="7676061" y="1624022"/>
            <a:ext cx="149374" cy="0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E35B35D2-11D4-4A01-8390-5163197CA649}"/>
              </a:ext>
            </a:extLst>
          </p:cNvPr>
          <p:cNvCxnSpPr>
            <a:cxnSpLocks/>
            <a:stCxn id="12" idx="3"/>
            <a:endCxn id="13" idx="1"/>
          </p:cNvCxnSpPr>
          <p:nvPr/>
        </p:nvCxnSpPr>
        <p:spPr>
          <a:xfrm>
            <a:off x="7676061" y="2974795"/>
            <a:ext cx="149374" cy="0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F1BDB592-7290-4145-A65B-9B45B921A6DE}"/>
              </a:ext>
            </a:extLst>
          </p:cNvPr>
          <p:cNvCxnSpPr>
            <a:cxnSpLocks/>
            <a:stCxn id="11" idx="2"/>
            <a:endCxn id="12" idx="0"/>
          </p:cNvCxnSpPr>
          <p:nvPr/>
        </p:nvCxnSpPr>
        <p:spPr>
          <a:xfrm flipH="1">
            <a:off x="7226681" y="2465653"/>
            <a:ext cx="539883" cy="277494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0A7F5A4F-3603-43CD-A6BF-F4A793AA14A2}"/>
              </a:ext>
            </a:extLst>
          </p:cNvPr>
          <p:cNvCxnSpPr>
            <a:cxnSpLocks/>
            <a:stCxn id="12" idx="2"/>
            <a:endCxn id="14" idx="1"/>
          </p:cNvCxnSpPr>
          <p:nvPr/>
        </p:nvCxnSpPr>
        <p:spPr>
          <a:xfrm rot="16200000" flipH="1">
            <a:off x="7346933" y="3086191"/>
            <a:ext cx="358248" cy="598753"/>
          </a:xfrm>
          <a:prstGeom prst="bentConnector2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7B2F6440-BCE9-41E9-B969-F7B631C739DF}"/>
              </a:ext>
            </a:extLst>
          </p:cNvPr>
          <p:cNvSpPr/>
          <p:nvPr/>
        </p:nvSpPr>
        <p:spPr>
          <a:xfrm>
            <a:off x="6229322" y="2002357"/>
            <a:ext cx="898758" cy="463296"/>
          </a:xfrm>
          <a:prstGeom prst="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/>
            <a:r>
              <a:rPr lang="en-US" sz="1000" dirty="0">
                <a:solidFill>
                  <a:srgbClr val="FFFFFF"/>
                </a:solidFill>
                <a:latin typeface="Arial"/>
              </a:rPr>
              <a:t>Task 617</a:t>
            </a:r>
          </a:p>
          <a:p>
            <a:pPr algn="ctr" defTabSz="457189"/>
            <a:r>
              <a:rPr lang="en-US" sz="1000" dirty="0">
                <a:solidFill>
                  <a:srgbClr val="FFFFFF"/>
                </a:solidFill>
                <a:latin typeface="Arial"/>
              </a:rPr>
              <a:t>Non-linearity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B33DFFF-3B62-43D9-A319-B9BD2457EE03}"/>
              </a:ext>
            </a:extLst>
          </p:cNvPr>
          <p:cNvSpPr/>
          <p:nvPr/>
        </p:nvSpPr>
        <p:spPr>
          <a:xfrm>
            <a:off x="3837449" y="1392374"/>
            <a:ext cx="993268" cy="463296"/>
          </a:xfrm>
          <a:prstGeom prst="rect">
            <a:avLst/>
          </a:prstGeom>
          <a:ln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/>
            <a:r>
              <a:rPr lang="en-US" sz="1000" dirty="0">
                <a:solidFill>
                  <a:srgbClr val="FFFFFF"/>
                </a:solidFill>
                <a:latin typeface="Arial"/>
              </a:rPr>
              <a:t>Task 605</a:t>
            </a:r>
          </a:p>
          <a:p>
            <a:pPr algn="ctr" defTabSz="457189"/>
            <a:r>
              <a:rPr lang="en-US" sz="1000" dirty="0">
                <a:solidFill>
                  <a:srgbClr val="FFFFFF"/>
                </a:solidFill>
                <a:latin typeface="Arial"/>
              </a:rPr>
              <a:t>WL home offse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AE618EF-977D-4874-B455-38164A3BAF1B}"/>
              </a:ext>
            </a:extLst>
          </p:cNvPr>
          <p:cNvSpPr/>
          <p:nvPr/>
        </p:nvSpPr>
        <p:spPr>
          <a:xfrm>
            <a:off x="3837449" y="2002357"/>
            <a:ext cx="993268" cy="463296"/>
          </a:xfrm>
          <a:prstGeom prst="rect">
            <a:avLst/>
          </a:prstGeom>
          <a:ln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/>
            <a:r>
              <a:rPr lang="en-US" sz="1000" dirty="0">
                <a:solidFill>
                  <a:srgbClr val="FFFFFF"/>
                </a:solidFill>
                <a:latin typeface="Arial"/>
              </a:rPr>
              <a:t>Task 602</a:t>
            </a:r>
          </a:p>
          <a:p>
            <a:pPr algn="ctr" defTabSz="457189"/>
            <a:r>
              <a:rPr lang="en-US" sz="1000" dirty="0" err="1">
                <a:solidFill>
                  <a:srgbClr val="FFFFFF"/>
                </a:solidFill>
                <a:latin typeface="Arial"/>
              </a:rPr>
              <a:t>Enc</a:t>
            </a:r>
            <a:r>
              <a:rPr lang="en-US" sz="1000" dirty="0">
                <a:solidFill>
                  <a:srgbClr val="FFFFFF"/>
                </a:solidFill>
                <a:latin typeface="Arial"/>
              </a:rPr>
              <a:t> </a:t>
            </a:r>
            <a:r>
              <a:rPr lang="en-US" sz="1000" dirty="0" err="1">
                <a:solidFill>
                  <a:srgbClr val="FFFFFF"/>
                </a:solidFill>
                <a:latin typeface="Arial"/>
              </a:rPr>
              <a:t>Pos</a:t>
            </a:r>
            <a:r>
              <a:rPr lang="en-US" sz="1000" dirty="0">
                <a:solidFill>
                  <a:srgbClr val="FFFFFF"/>
                </a:solidFill>
                <a:latin typeface="Arial"/>
              </a:rPr>
              <a:t> to WL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7F16B40-A1E4-4DA0-89BD-86A23AA918C7}"/>
              </a:ext>
            </a:extLst>
          </p:cNvPr>
          <p:cNvSpPr/>
          <p:nvPr/>
        </p:nvSpPr>
        <p:spPr>
          <a:xfrm>
            <a:off x="5005985" y="2743147"/>
            <a:ext cx="982600" cy="463296"/>
          </a:xfrm>
          <a:prstGeom prst="rect">
            <a:avLst/>
          </a:prstGeom>
          <a:solidFill>
            <a:schemeClr val="tx2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/>
            <a:r>
              <a:rPr lang="en-US" sz="1000" dirty="0">
                <a:solidFill>
                  <a:schemeClr val="bg1"/>
                </a:solidFill>
                <a:latin typeface="Arial"/>
              </a:rPr>
              <a:t>Task 641</a:t>
            </a:r>
          </a:p>
          <a:p>
            <a:pPr algn="ctr" defTabSz="457189"/>
            <a:r>
              <a:rPr lang="en-US" sz="1000" dirty="0">
                <a:solidFill>
                  <a:schemeClr val="bg1"/>
                </a:solidFill>
                <a:latin typeface="Arial"/>
              </a:rPr>
              <a:t>ND filter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EE658BF-0B6A-47C7-B8C2-CE8DC32D0831}"/>
              </a:ext>
            </a:extLst>
          </p:cNvPr>
          <p:cNvSpPr/>
          <p:nvPr/>
        </p:nvSpPr>
        <p:spPr>
          <a:xfrm>
            <a:off x="3837449" y="2743147"/>
            <a:ext cx="993268" cy="463296"/>
          </a:xfrm>
          <a:prstGeom prst="rect">
            <a:avLst/>
          </a:prstGeom>
          <a:ln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/>
            <a:r>
              <a:rPr lang="en-US" sz="1000" dirty="0">
                <a:solidFill>
                  <a:srgbClr val="FFFFFF"/>
                </a:solidFill>
                <a:latin typeface="Arial"/>
              </a:rPr>
              <a:t>Task 601</a:t>
            </a:r>
          </a:p>
          <a:p>
            <a:pPr algn="ctr" defTabSz="457189"/>
            <a:r>
              <a:rPr lang="en-US" sz="1000" dirty="0">
                <a:solidFill>
                  <a:srgbClr val="FFFFFF"/>
                </a:solidFill>
                <a:latin typeface="Arial"/>
              </a:rPr>
              <a:t>ND filter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32DE348-CAE5-4736-A4BE-D508DC552E49}"/>
              </a:ext>
            </a:extLst>
          </p:cNvPr>
          <p:cNvSpPr/>
          <p:nvPr/>
        </p:nvSpPr>
        <p:spPr>
          <a:xfrm>
            <a:off x="3837449" y="3975759"/>
            <a:ext cx="993268" cy="463296"/>
          </a:xfrm>
          <a:prstGeom prst="rect">
            <a:avLst/>
          </a:prstGeom>
          <a:ln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/>
            <a:r>
              <a:rPr lang="en-US" sz="1000" dirty="0">
                <a:solidFill>
                  <a:srgbClr val="FFFFFF"/>
                </a:solidFill>
                <a:latin typeface="Arial"/>
              </a:rPr>
              <a:t>Task 603</a:t>
            </a:r>
          </a:p>
          <a:p>
            <a:pPr algn="ctr" defTabSz="457189"/>
            <a:r>
              <a:rPr lang="en-US" sz="1000" dirty="0">
                <a:solidFill>
                  <a:srgbClr val="FFFFFF"/>
                </a:solidFill>
                <a:latin typeface="Arial"/>
              </a:rPr>
              <a:t>WL offset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5AE8FB2-7EDA-45BB-A18F-350F552DACD5}"/>
              </a:ext>
            </a:extLst>
          </p:cNvPr>
          <p:cNvSpPr/>
          <p:nvPr/>
        </p:nvSpPr>
        <p:spPr>
          <a:xfrm>
            <a:off x="5005984" y="4295145"/>
            <a:ext cx="982601" cy="463296"/>
          </a:xfrm>
          <a:prstGeom prst="rect">
            <a:avLst/>
          </a:prstGeom>
          <a:solidFill>
            <a:schemeClr val="tx2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/>
            <a:r>
              <a:rPr lang="en-US" sz="1000" dirty="0">
                <a:solidFill>
                  <a:schemeClr val="bg1"/>
                </a:solidFill>
                <a:latin typeface="Arial"/>
              </a:rPr>
              <a:t>Task 630</a:t>
            </a:r>
          </a:p>
          <a:p>
            <a:pPr algn="ctr" defTabSz="457189"/>
            <a:r>
              <a:rPr lang="en-US" sz="1000" dirty="0">
                <a:solidFill>
                  <a:schemeClr val="bg1"/>
                </a:solidFill>
                <a:latin typeface="Arial"/>
              </a:rPr>
              <a:t>CLM spectral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98ED83C-6101-46AE-BA28-984386511F74}"/>
              </a:ext>
            </a:extLst>
          </p:cNvPr>
          <p:cNvSpPr/>
          <p:nvPr/>
        </p:nvSpPr>
        <p:spPr>
          <a:xfrm>
            <a:off x="5005985" y="2002357"/>
            <a:ext cx="993268" cy="463296"/>
          </a:xfrm>
          <a:prstGeom prst="rect">
            <a:avLst/>
          </a:prstGeom>
          <a:solidFill>
            <a:schemeClr val="tx2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/>
            <a:r>
              <a:rPr lang="en-US" sz="1000" dirty="0">
                <a:solidFill>
                  <a:schemeClr val="bg1"/>
                </a:solidFill>
                <a:latin typeface="Arial"/>
              </a:rPr>
              <a:t>Task 625</a:t>
            </a:r>
          </a:p>
          <a:p>
            <a:pPr algn="ctr" defTabSz="457189"/>
            <a:r>
              <a:rPr lang="en-US" sz="1000" dirty="0" err="1">
                <a:solidFill>
                  <a:schemeClr val="bg1"/>
                </a:solidFill>
                <a:latin typeface="Arial"/>
              </a:rPr>
              <a:t>Enc</a:t>
            </a:r>
            <a:r>
              <a:rPr lang="en-US" sz="1000" dirty="0">
                <a:solidFill>
                  <a:schemeClr val="bg1"/>
                </a:solidFill>
                <a:latin typeface="Arial"/>
              </a:rPr>
              <a:t> </a:t>
            </a:r>
            <a:r>
              <a:rPr lang="en-US" sz="1000" dirty="0" err="1">
                <a:solidFill>
                  <a:schemeClr val="bg1"/>
                </a:solidFill>
                <a:latin typeface="Arial"/>
              </a:rPr>
              <a:t>Pos</a:t>
            </a:r>
            <a:r>
              <a:rPr lang="en-US" sz="1000" dirty="0">
                <a:solidFill>
                  <a:schemeClr val="bg1"/>
                </a:solidFill>
                <a:latin typeface="Arial"/>
              </a:rPr>
              <a:t> to WL</a:t>
            </a: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05CD6F32-7D4F-49FB-84B2-282BC67A7506}"/>
              </a:ext>
            </a:extLst>
          </p:cNvPr>
          <p:cNvCxnSpPr>
            <a:cxnSpLocks/>
            <a:stCxn id="20" idx="2"/>
            <a:endCxn id="21" idx="0"/>
          </p:cNvCxnSpPr>
          <p:nvPr/>
        </p:nvCxnSpPr>
        <p:spPr>
          <a:xfrm>
            <a:off x="4334082" y="1855671"/>
            <a:ext cx="0" cy="146687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3084EE86-2B58-45C6-9F31-753E378283F8}"/>
              </a:ext>
            </a:extLst>
          </p:cNvPr>
          <p:cNvCxnSpPr>
            <a:cxnSpLocks/>
            <a:stCxn id="21" idx="2"/>
            <a:endCxn id="23" idx="0"/>
          </p:cNvCxnSpPr>
          <p:nvPr/>
        </p:nvCxnSpPr>
        <p:spPr>
          <a:xfrm>
            <a:off x="4334082" y="2465653"/>
            <a:ext cx="0" cy="277494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529E0FFB-74A3-408F-A4C0-1D06A9B5B4D4}"/>
              </a:ext>
            </a:extLst>
          </p:cNvPr>
          <p:cNvCxnSpPr>
            <a:cxnSpLocks/>
          </p:cNvCxnSpPr>
          <p:nvPr/>
        </p:nvCxnSpPr>
        <p:spPr>
          <a:xfrm>
            <a:off x="4275960" y="3206443"/>
            <a:ext cx="0" cy="769316"/>
          </a:xfrm>
          <a:prstGeom prst="straightConnector1">
            <a:avLst/>
          </a:prstGeom>
          <a:ln w="9525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4C3BA501-4883-40F0-9DA6-CD8F385D1566}"/>
              </a:ext>
            </a:extLst>
          </p:cNvPr>
          <p:cNvCxnSpPr>
            <a:cxnSpLocks/>
            <a:stCxn id="21" idx="3"/>
            <a:endCxn id="26" idx="1"/>
          </p:cNvCxnSpPr>
          <p:nvPr/>
        </p:nvCxnSpPr>
        <p:spPr>
          <a:xfrm>
            <a:off x="4830717" y="2234005"/>
            <a:ext cx="175268" cy="0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CF0476B5-C4DA-45F3-B87A-A8075DDE9D77}"/>
              </a:ext>
            </a:extLst>
          </p:cNvPr>
          <p:cNvCxnSpPr>
            <a:cxnSpLocks/>
            <a:stCxn id="23" idx="3"/>
            <a:endCxn id="22" idx="1"/>
          </p:cNvCxnSpPr>
          <p:nvPr/>
        </p:nvCxnSpPr>
        <p:spPr>
          <a:xfrm>
            <a:off x="4830717" y="2974795"/>
            <a:ext cx="175268" cy="0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nector: Elbow 31">
            <a:extLst>
              <a:ext uri="{FF2B5EF4-FFF2-40B4-BE49-F238E27FC236}">
                <a16:creationId xmlns:a16="http://schemas.microsoft.com/office/drawing/2014/main" id="{C42789BB-C45D-4A7F-9FD8-B1F398B58BB5}"/>
              </a:ext>
            </a:extLst>
          </p:cNvPr>
          <p:cNvCxnSpPr>
            <a:cxnSpLocks/>
            <a:stCxn id="24" idx="2"/>
            <a:endCxn id="25" idx="1"/>
          </p:cNvCxnSpPr>
          <p:nvPr/>
        </p:nvCxnSpPr>
        <p:spPr>
          <a:xfrm rot="16200000" flipH="1">
            <a:off x="4626163" y="4146974"/>
            <a:ext cx="87738" cy="671901"/>
          </a:xfrm>
          <a:prstGeom prst="bentConnector2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9E0E1015-8E18-49C6-B82D-69563004775A}"/>
              </a:ext>
            </a:extLst>
          </p:cNvPr>
          <p:cNvSpPr/>
          <p:nvPr/>
        </p:nvSpPr>
        <p:spPr>
          <a:xfrm>
            <a:off x="4674879" y="1392375"/>
            <a:ext cx="155838" cy="158369"/>
          </a:xfrm>
          <a:prstGeom prst="rect">
            <a:avLst/>
          </a:prstGeom>
          <a:solidFill>
            <a:schemeClr val="bg1"/>
          </a:solidFill>
          <a:ln w="19050" cap="sq">
            <a:solidFill>
              <a:srgbClr val="08176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/>
            <a:endParaRPr lang="en-US">
              <a:solidFill>
                <a:srgbClr val="FFFFFF"/>
              </a:solidFill>
              <a:latin typeface="Arial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FD6C202-86DF-4C3A-A1CD-BDD8B1827043}"/>
              </a:ext>
            </a:extLst>
          </p:cNvPr>
          <p:cNvSpPr txBox="1"/>
          <p:nvPr/>
        </p:nvSpPr>
        <p:spPr>
          <a:xfrm>
            <a:off x="3904605" y="1069186"/>
            <a:ext cx="85895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457189">
              <a:spcAft>
                <a:spcPts val="900"/>
              </a:spcAft>
            </a:pPr>
            <a:r>
              <a:rPr lang="en-US" sz="1400" dirty="0">
                <a:solidFill>
                  <a:srgbClr val="1C7DDB"/>
                </a:solidFill>
                <a:latin typeface="Arial"/>
              </a:rPr>
              <a:t>CL Module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18DCAD93-1EA2-4A4B-A1E6-130BC9E8E615}"/>
              </a:ext>
            </a:extLst>
          </p:cNvPr>
          <p:cNvSpPr txBox="1"/>
          <p:nvPr/>
        </p:nvSpPr>
        <p:spPr>
          <a:xfrm>
            <a:off x="6303090" y="1069186"/>
            <a:ext cx="178093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457189">
              <a:spcAft>
                <a:spcPts val="900"/>
              </a:spcAft>
            </a:pPr>
            <a:r>
              <a:rPr lang="en-US" sz="1400" dirty="0">
                <a:solidFill>
                  <a:srgbClr val="FF7F45"/>
                </a:solidFill>
                <a:latin typeface="Arial"/>
              </a:rPr>
              <a:t>External Spectrometer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D9C02078-C4C4-4D3E-A0EA-C6A069E9EDB3}"/>
              </a:ext>
            </a:extLst>
          </p:cNvPr>
          <p:cNvSpPr/>
          <p:nvPr/>
        </p:nvSpPr>
        <p:spPr>
          <a:xfrm>
            <a:off x="1050883" y="4175826"/>
            <a:ext cx="824488" cy="546015"/>
          </a:xfrm>
          <a:prstGeom prst="rect">
            <a:avLst/>
          </a:prstGeom>
          <a:solidFill>
            <a:schemeClr val="bg1">
              <a:lumMod val="50000"/>
            </a:schemeClr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/>
            <a:r>
              <a:rPr lang="en-US" sz="1050" dirty="0">
                <a:solidFill>
                  <a:schemeClr val="bg1"/>
                </a:solidFill>
                <a:latin typeface="Arial"/>
              </a:rPr>
              <a:t>New task VHV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6637884A-91D6-47B9-BBD8-17960956A650}"/>
              </a:ext>
            </a:extLst>
          </p:cNvPr>
          <p:cNvSpPr/>
          <p:nvPr/>
        </p:nvSpPr>
        <p:spPr>
          <a:xfrm>
            <a:off x="2029625" y="4175826"/>
            <a:ext cx="824488" cy="546015"/>
          </a:xfrm>
          <a:prstGeom prst="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/>
            <a:r>
              <a:rPr lang="en-US" sz="1050" dirty="0">
                <a:solidFill>
                  <a:srgbClr val="FFFFFF"/>
                </a:solidFill>
                <a:latin typeface="Arial"/>
              </a:rPr>
              <a:t>new task</a:t>
            </a:r>
          </a:p>
          <a:p>
            <a:pPr algn="ctr" defTabSz="457189"/>
            <a:r>
              <a:rPr lang="en-US" sz="1050" dirty="0">
                <a:solidFill>
                  <a:srgbClr val="FFFFFF"/>
                </a:solidFill>
                <a:latin typeface="Arial"/>
              </a:rPr>
              <a:t>ACE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12CA036E-A0D4-4848-8EA4-FA8F9DABC653}"/>
              </a:ext>
            </a:extLst>
          </p:cNvPr>
          <p:cNvGrpSpPr/>
          <p:nvPr/>
        </p:nvGrpSpPr>
        <p:grpSpPr>
          <a:xfrm>
            <a:off x="72141" y="4174110"/>
            <a:ext cx="824488" cy="549446"/>
            <a:chOff x="597770" y="4085953"/>
            <a:chExt cx="824488" cy="549446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BDD82B4-EF3B-446C-972A-238F9CEDF9B0}"/>
                </a:ext>
              </a:extLst>
            </p:cNvPr>
            <p:cNvSpPr/>
            <p:nvPr/>
          </p:nvSpPr>
          <p:spPr>
            <a:xfrm>
              <a:off x="597770" y="4089384"/>
              <a:ext cx="824488" cy="546015"/>
            </a:xfrm>
            <a:prstGeom prst="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7189"/>
              <a:r>
                <a:rPr lang="en-US" sz="1050" dirty="0">
                  <a:solidFill>
                    <a:srgbClr val="FFFFFF"/>
                  </a:solidFill>
                  <a:latin typeface="Arial"/>
                </a:rPr>
                <a:t>existing task </a:t>
              </a:r>
            </a:p>
            <a:p>
              <a:pPr algn="ctr" defTabSz="457189"/>
              <a:r>
                <a:rPr lang="en-US" sz="1050" dirty="0">
                  <a:solidFill>
                    <a:srgbClr val="FFFFFF"/>
                  </a:solidFill>
                  <a:latin typeface="Arial"/>
                </a:rPr>
                <a:t>&lt; SP18</a:t>
              </a: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22B65B6C-523B-463C-A4B7-E7FB1A34038B}"/>
                </a:ext>
              </a:extLst>
            </p:cNvPr>
            <p:cNvSpPr/>
            <p:nvPr/>
          </p:nvSpPr>
          <p:spPr>
            <a:xfrm>
              <a:off x="1309146" y="4085953"/>
              <a:ext cx="111198" cy="12165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rgbClr val="081765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7189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</p:grpSp>
      <p:sp>
        <p:nvSpPr>
          <p:cNvPr id="41" name="Rectangle 40">
            <a:extLst>
              <a:ext uri="{FF2B5EF4-FFF2-40B4-BE49-F238E27FC236}">
                <a16:creationId xmlns:a16="http://schemas.microsoft.com/office/drawing/2014/main" id="{357A479B-A421-471F-928F-4EE3C26EC41E}"/>
              </a:ext>
            </a:extLst>
          </p:cNvPr>
          <p:cNvSpPr/>
          <p:nvPr/>
        </p:nvSpPr>
        <p:spPr>
          <a:xfrm>
            <a:off x="4674879" y="2002358"/>
            <a:ext cx="155838" cy="158369"/>
          </a:xfrm>
          <a:prstGeom prst="rect">
            <a:avLst/>
          </a:prstGeom>
          <a:solidFill>
            <a:schemeClr val="bg1"/>
          </a:solidFill>
          <a:ln w="19050" cap="sq">
            <a:solidFill>
              <a:srgbClr val="08176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/>
            <a:endParaRPr lang="en-US">
              <a:solidFill>
                <a:srgbClr val="FFFFFF"/>
              </a:solidFill>
              <a:latin typeface="Arial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441E8460-E18A-4208-974F-C706240485F8}"/>
              </a:ext>
            </a:extLst>
          </p:cNvPr>
          <p:cNvSpPr/>
          <p:nvPr/>
        </p:nvSpPr>
        <p:spPr>
          <a:xfrm>
            <a:off x="4674879" y="2743148"/>
            <a:ext cx="155838" cy="158369"/>
          </a:xfrm>
          <a:prstGeom prst="rect">
            <a:avLst/>
          </a:prstGeom>
          <a:solidFill>
            <a:schemeClr val="bg1"/>
          </a:solidFill>
          <a:ln w="19050" cap="sq">
            <a:solidFill>
              <a:srgbClr val="08176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/>
            <a:endParaRPr lang="en-US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BBAE0AE8-F724-4D15-91BA-2B9144FCD98D}"/>
              </a:ext>
            </a:extLst>
          </p:cNvPr>
          <p:cNvGrpSpPr/>
          <p:nvPr/>
        </p:nvGrpSpPr>
        <p:grpSpPr>
          <a:xfrm>
            <a:off x="5713563" y="1386278"/>
            <a:ext cx="858953" cy="469392"/>
            <a:chOff x="407676" y="169447"/>
            <a:chExt cx="858953" cy="469392"/>
          </a:xfrm>
        </p:grpSpPr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42697C68-880A-429E-8BFF-7D0111B72FC5}"/>
                </a:ext>
              </a:extLst>
            </p:cNvPr>
            <p:cNvSpPr/>
            <p:nvPr/>
          </p:nvSpPr>
          <p:spPr>
            <a:xfrm>
              <a:off x="407676" y="175543"/>
              <a:ext cx="858953" cy="463296"/>
            </a:xfrm>
            <a:prstGeom prst="rect">
              <a:avLst/>
            </a:prstGeom>
            <a:ln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7189"/>
              <a:r>
                <a:rPr lang="en-US" sz="1000" dirty="0">
                  <a:solidFill>
                    <a:srgbClr val="FFFFFF"/>
                  </a:solidFill>
                  <a:latin typeface="Arial"/>
                </a:rPr>
                <a:t>Task 613</a:t>
              </a:r>
            </a:p>
            <a:p>
              <a:pPr algn="ctr" defTabSz="457189"/>
              <a:r>
                <a:rPr lang="en-US" sz="1000" dirty="0">
                  <a:solidFill>
                    <a:srgbClr val="FFFFFF"/>
                  </a:solidFill>
                  <a:latin typeface="Arial"/>
                </a:rPr>
                <a:t>WL coarse</a:t>
              </a: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352D87FB-53F0-437C-B8A8-A2C86E779A66}"/>
                </a:ext>
              </a:extLst>
            </p:cNvPr>
            <p:cNvSpPr/>
            <p:nvPr/>
          </p:nvSpPr>
          <p:spPr>
            <a:xfrm>
              <a:off x="1133856" y="169447"/>
              <a:ext cx="131639" cy="119506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rgbClr val="081765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7189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</p:grp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662364E3-2E3F-4708-8B22-DB9DC8C6B6AD}"/>
              </a:ext>
            </a:extLst>
          </p:cNvPr>
          <p:cNvCxnSpPr>
            <a:cxnSpLocks/>
            <a:stCxn id="9" idx="2"/>
            <a:endCxn id="12" idx="0"/>
          </p:cNvCxnSpPr>
          <p:nvPr/>
        </p:nvCxnSpPr>
        <p:spPr>
          <a:xfrm>
            <a:off x="7226681" y="1855671"/>
            <a:ext cx="0" cy="887477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BA9D02CA-0736-43D1-A041-DF2B006764A9}"/>
              </a:ext>
            </a:extLst>
          </p:cNvPr>
          <p:cNvCxnSpPr>
            <a:cxnSpLocks/>
            <a:stCxn id="19" idx="2"/>
            <a:endCxn id="12" idx="0"/>
          </p:cNvCxnSpPr>
          <p:nvPr/>
        </p:nvCxnSpPr>
        <p:spPr>
          <a:xfrm>
            <a:off x="6678701" y="2465653"/>
            <a:ext cx="547980" cy="277494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angle 47">
            <a:extLst>
              <a:ext uri="{FF2B5EF4-FFF2-40B4-BE49-F238E27FC236}">
                <a16:creationId xmlns:a16="http://schemas.microsoft.com/office/drawing/2014/main" id="{A76E21CD-DE95-4337-A9B7-183CABF44EB5}"/>
              </a:ext>
            </a:extLst>
          </p:cNvPr>
          <p:cNvSpPr/>
          <p:nvPr/>
        </p:nvSpPr>
        <p:spPr>
          <a:xfrm>
            <a:off x="4996566" y="3332138"/>
            <a:ext cx="982597" cy="463296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/>
            <a:r>
              <a:rPr lang="en-US" sz="1000" dirty="0">
                <a:solidFill>
                  <a:schemeClr val="bg1"/>
                </a:solidFill>
                <a:latin typeface="Arial"/>
              </a:rPr>
              <a:t>Task 610</a:t>
            </a:r>
          </a:p>
          <a:p>
            <a:pPr algn="ctr" defTabSz="457189"/>
            <a:r>
              <a:rPr lang="en-US" sz="1000" dirty="0">
                <a:solidFill>
                  <a:schemeClr val="bg1"/>
                </a:solidFill>
                <a:latin typeface="Arial"/>
              </a:rPr>
              <a:t>Spectral</a:t>
            </a:r>
          </a:p>
        </p:txBody>
      </p:sp>
      <p:cxnSp>
        <p:nvCxnSpPr>
          <p:cNvPr id="49" name="Connector: Elbow 48">
            <a:extLst>
              <a:ext uri="{FF2B5EF4-FFF2-40B4-BE49-F238E27FC236}">
                <a16:creationId xmlns:a16="http://schemas.microsoft.com/office/drawing/2014/main" id="{C81A069F-3AAC-4AFB-A8E2-033C7BDE855F}"/>
              </a:ext>
            </a:extLst>
          </p:cNvPr>
          <p:cNvCxnSpPr>
            <a:cxnSpLocks/>
            <a:stCxn id="12" idx="2"/>
            <a:endCxn id="48" idx="3"/>
          </p:cNvCxnSpPr>
          <p:nvPr/>
        </p:nvCxnSpPr>
        <p:spPr>
          <a:xfrm rot="5400000">
            <a:off x="6424252" y="2761356"/>
            <a:ext cx="357343" cy="1247519"/>
          </a:xfrm>
          <a:prstGeom prst="bentConnector2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Connector: Elbow 49">
            <a:extLst>
              <a:ext uri="{FF2B5EF4-FFF2-40B4-BE49-F238E27FC236}">
                <a16:creationId xmlns:a16="http://schemas.microsoft.com/office/drawing/2014/main" id="{A3307C15-8B89-4879-964F-D6EDF32C52CB}"/>
              </a:ext>
            </a:extLst>
          </p:cNvPr>
          <p:cNvCxnSpPr>
            <a:cxnSpLocks/>
          </p:cNvCxnSpPr>
          <p:nvPr/>
        </p:nvCxnSpPr>
        <p:spPr>
          <a:xfrm rot="5400000">
            <a:off x="4797872" y="1452843"/>
            <a:ext cx="887477" cy="1693133"/>
          </a:xfrm>
          <a:prstGeom prst="bentConnector3">
            <a:avLst>
              <a:gd name="adj1" fmla="val 80224"/>
            </a:avLst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Connector: Elbow 51">
            <a:extLst>
              <a:ext uri="{FF2B5EF4-FFF2-40B4-BE49-F238E27FC236}">
                <a16:creationId xmlns:a16="http://schemas.microsoft.com/office/drawing/2014/main" id="{C4A9537A-96B2-4F3F-9A97-4CE5783F8C31}"/>
              </a:ext>
            </a:extLst>
          </p:cNvPr>
          <p:cNvCxnSpPr>
            <a:cxnSpLocks/>
            <a:stCxn id="44" idx="2"/>
            <a:endCxn id="12" idx="1"/>
          </p:cNvCxnSpPr>
          <p:nvPr/>
        </p:nvCxnSpPr>
        <p:spPr>
          <a:xfrm rot="16200000" flipH="1">
            <a:off x="5900609" y="2098100"/>
            <a:ext cx="1119125" cy="634263"/>
          </a:xfrm>
          <a:prstGeom prst="bentConnector2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tangle 52">
            <a:extLst>
              <a:ext uri="{FF2B5EF4-FFF2-40B4-BE49-F238E27FC236}">
                <a16:creationId xmlns:a16="http://schemas.microsoft.com/office/drawing/2014/main" id="{6F61F686-0EBA-4179-9D4C-07DC382DC95D}"/>
              </a:ext>
            </a:extLst>
          </p:cNvPr>
          <p:cNvSpPr/>
          <p:nvPr/>
        </p:nvSpPr>
        <p:spPr>
          <a:xfrm>
            <a:off x="2750130" y="1392374"/>
            <a:ext cx="833641" cy="463296"/>
          </a:xfrm>
          <a:prstGeom prst="rect">
            <a:avLst/>
          </a:prstGeom>
          <a:solidFill>
            <a:srgbClr val="0F238D"/>
          </a:solidFill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/>
            <a:r>
              <a:rPr lang="en-US" sz="1000" dirty="0">
                <a:solidFill>
                  <a:srgbClr val="FFFFFF"/>
                </a:solidFill>
                <a:latin typeface="Arial"/>
              </a:rPr>
              <a:t>Task 600</a:t>
            </a:r>
          </a:p>
          <a:p>
            <a:pPr algn="ctr" defTabSz="457189"/>
            <a:r>
              <a:rPr lang="en-US" sz="1000" dirty="0">
                <a:solidFill>
                  <a:srgbClr val="FFFFFF"/>
                </a:solidFill>
                <a:latin typeface="Arial"/>
              </a:rPr>
              <a:t>WL coarse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FBEC0ADA-0C7F-4406-9FF7-75834DE90ACC}"/>
              </a:ext>
            </a:extLst>
          </p:cNvPr>
          <p:cNvSpPr/>
          <p:nvPr/>
        </p:nvSpPr>
        <p:spPr>
          <a:xfrm>
            <a:off x="584756" y="1392374"/>
            <a:ext cx="833641" cy="463296"/>
          </a:xfrm>
          <a:prstGeom prst="rect">
            <a:avLst/>
          </a:prstGeom>
          <a:solidFill>
            <a:srgbClr val="0F238D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/>
            <a:r>
              <a:rPr lang="en-US" sz="1000" dirty="0">
                <a:solidFill>
                  <a:schemeClr val="bg1"/>
                </a:solidFill>
                <a:latin typeface="Arial"/>
              </a:rPr>
              <a:t>Task 623</a:t>
            </a:r>
          </a:p>
          <a:p>
            <a:pPr algn="ctr" defTabSz="457189"/>
            <a:r>
              <a:rPr lang="en-US" sz="1000" dirty="0">
                <a:solidFill>
                  <a:schemeClr val="bg1"/>
                </a:solidFill>
                <a:latin typeface="Arial"/>
              </a:rPr>
              <a:t>DC Offset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BE5D5C9A-292B-45E8-A107-EE487882DAB1}"/>
              </a:ext>
            </a:extLst>
          </p:cNvPr>
          <p:cNvSpPr/>
          <p:nvPr/>
        </p:nvSpPr>
        <p:spPr>
          <a:xfrm>
            <a:off x="1684753" y="1392374"/>
            <a:ext cx="833642" cy="463296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/>
            <a:r>
              <a:rPr lang="en-US" sz="1000" dirty="0">
                <a:solidFill>
                  <a:srgbClr val="FFFFFF"/>
                </a:solidFill>
                <a:latin typeface="Arial"/>
              </a:rPr>
              <a:t>Task 604</a:t>
            </a:r>
          </a:p>
          <a:p>
            <a:pPr algn="ctr" defTabSz="457189"/>
            <a:r>
              <a:rPr lang="en-US" sz="1000" dirty="0">
                <a:solidFill>
                  <a:srgbClr val="FFFFFF"/>
                </a:solidFill>
                <a:latin typeface="Arial"/>
              </a:rPr>
              <a:t>DC offset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7DDDA5A0-E285-42C2-B86E-73025CA72E24}"/>
              </a:ext>
            </a:extLst>
          </p:cNvPr>
          <p:cNvSpPr/>
          <p:nvPr/>
        </p:nvSpPr>
        <p:spPr>
          <a:xfrm>
            <a:off x="1179064" y="2002357"/>
            <a:ext cx="833642" cy="463296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/>
            <a:r>
              <a:rPr lang="en-US" sz="1000" dirty="0">
                <a:solidFill>
                  <a:srgbClr val="FFFFFF"/>
                </a:solidFill>
                <a:latin typeface="Arial"/>
              </a:rPr>
              <a:t>Task 611</a:t>
            </a:r>
          </a:p>
          <a:p>
            <a:pPr algn="ctr" defTabSz="457189"/>
            <a:r>
              <a:rPr lang="en-US" sz="1000" dirty="0">
                <a:solidFill>
                  <a:srgbClr val="FFFFFF"/>
                </a:solidFill>
                <a:latin typeface="Arial"/>
              </a:rPr>
              <a:t>Non-linearity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C06682C1-B687-484E-AB25-D3A3D084A3EF}"/>
              </a:ext>
            </a:extLst>
          </p:cNvPr>
          <p:cNvSpPr/>
          <p:nvPr/>
        </p:nvSpPr>
        <p:spPr>
          <a:xfrm>
            <a:off x="2191189" y="2002357"/>
            <a:ext cx="830571" cy="463296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/>
            <a:r>
              <a:rPr lang="en-US" sz="1000" dirty="0">
                <a:solidFill>
                  <a:srgbClr val="FFFFFF"/>
                </a:solidFill>
                <a:latin typeface="Arial"/>
              </a:rPr>
              <a:t>Task 612</a:t>
            </a:r>
          </a:p>
          <a:p>
            <a:pPr algn="ctr" defTabSz="457189"/>
            <a:r>
              <a:rPr lang="en-US" sz="1000" dirty="0">
                <a:solidFill>
                  <a:srgbClr val="FFFFFF"/>
                </a:solidFill>
                <a:latin typeface="Arial"/>
              </a:rPr>
              <a:t>Irradiance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5088F334-AEF0-4128-AE97-B652F6F80166}"/>
              </a:ext>
            </a:extLst>
          </p:cNvPr>
          <p:cNvSpPr/>
          <p:nvPr/>
        </p:nvSpPr>
        <p:spPr>
          <a:xfrm>
            <a:off x="1678655" y="2743147"/>
            <a:ext cx="833643" cy="463296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/>
            <a:r>
              <a:rPr lang="en-US" sz="1000" dirty="0">
                <a:solidFill>
                  <a:srgbClr val="FFFFFF"/>
                </a:solidFill>
                <a:latin typeface="Arial"/>
              </a:rPr>
              <a:t>Task 619</a:t>
            </a:r>
          </a:p>
          <a:p>
            <a:pPr algn="ctr" defTabSz="457189"/>
            <a:r>
              <a:rPr lang="en-US" sz="1000" dirty="0">
                <a:solidFill>
                  <a:srgbClr val="FFFFFF"/>
                </a:solidFill>
                <a:latin typeface="Arial"/>
              </a:rPr>
              <a:t>WL fine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C6D8BCBB-D8F7-41A7-95C5-17155C50E759}"/>
              </a:ext>
            </a:extLst>
          </p:cNvPr>
          <p:cNvSpPr/>
          <p:nvPr/>
        </p:nvSpPr>
        <p:spPr>
          <a:xfrm>
            <a:off x="583448" y="3334459"/>
            <a:ext cx="833641" cy="463296"/>
          </a:xfrm>
          <a:prstGeom prst="rect">
            <a:avLst/>
          </a:prstGeom>
          <a:solidFill>
            <a:srgbClr val="0F238D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/>
            <a:r>
              <a:rPr lang="en-US" sz="1000" dirty="0">
                <a:solidFill>
                  <a:schemeClr val="bg1"/>
                </a:solidFill>
                <a:latin typeface="Arial"/>
              </a:rPr>
              <a:t>Task 628</a:t>
            </a:r>
          </a:p>
          <a:p>
            <a:pPr algn="ctr" defTabSz="457189"/>
            <a:r>
              <a:rPr lang="en-US" sz="1000" dirty="0">
                <a:solidFill>
                  <a:schemeClr val="bg1"/>
                </a:solidFill>
                <a:latin typeface="Arial"/>
              </a:rPr>
              <a:t>Spectrometer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DB4CFF0C-AA38-4ECE-8623-D327A38891A1}"/>
              </a:ext>
            </a:extLst>
          </p:cNvPr>
          <p:cNvSpPr/>
          <p:nvPr/>
        </p:nvSpPr>
        <p:spPr>
          <a:xfrm>
            <a:off x="583449" y="2743566"/>
            <a:ext cx="833641" cy="463296"/>
          </a:xfrm>
          <a:prstGeom prst="rect">
            <a:avLst/>
          </a:prstGeom>
          <a:solidFill>
            <a:srgbClr val="0F238D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/>
            <a:r>
              <a:rPr lang="en-US" sz="1000" dirty="0">
                <a:solidFill>
                  <a:schemeClr val="bg1"/>
                </a:solidFill>
                <a:latin typeface="Arial"/>
              </a:rPr>
              <a:t>Task 626</a:t>
            </a:r>
          </a:p>
          <a:p>
            <a:pPr algn="ctr" defTabSz="457189"/>
            <a:r>
              <a:rPr lang="en-US" sz="1000" dirty="0">
                <a:solidFill>
                  <a:schemeClr val="bg1"/>
                </a:solidFill>
                <a:latin typeface="Arial"/>
              </a:rPr>
              <a:t>WL fine</a:t>
            </a:r>
          </a:p>
        </p:txBody>
      </p: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A1487D38-184D-4834-B22F-36C3176A0E72}"/>
              </a:ext>
            </a:extLst>
          </p:cNvPr>
          <p:cNvCxnSpPr>
            <a:cxnSpLocks/>
            <a:stCxn id="55" idx="1"/>
            <a:endCxn id="54" idx="3"/>
          </p:cNvCxnSpPr>
          <p:nvPr/>
        </p:nvCxnSpPr>
        <p:spPr>
          <a:xfrm flipH="1">
            <a:off x="1418397" y="1624022"/>
            <a:ext cx="266357" cy="0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E09E7340-EBD5-4B81-9FE0-ED62ECDD19C7}"/>
              </a:ext>
            </a:extLst>
          </p:cNvPr>
          <p:cNvCxnSpPr>
            <a:cxnSpLocks/>
            <a:stCxn id="57" idx="2"/>
            <a:endCxn id="58" idx="0"/>
          </p:cNvCxnSpPr>
          <p:nvPr/>
        </p:nvCxnSpPr>
        <p:spPr>
          <a:xfrm flipH="1">
            <a:off x="2095478" y="2465653"/>
            <a:ext cx="510997" cy="277494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85D575B7-C781-4240-96FE-743F30A1710A}"/>
              </a:ext>
            </a:extLst>
          </p:cNvPr>
          <p:cNvCxnSpPr>
            <a:cxnSpLocks/>
            <a:stCxn id="58" idx="1"/>
            <a:endCxn id="60" idx="3"/>
          </p:cNvCxnSpPr>
          <p:nvPr/>
        </p:nvCxnSpPr>
        <p:spPr>
          <a:xfrm flipH="1">
            <a:off x="1417090" y="2974796"/>
            <a:ext cx="261566" cy="419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Connector: Elbow 63">
            <a:extLst>
              <a:ext uri="{FF2B5EF4-FFF2-40B4-BE49-F238E27FC236}">
                <a16:creationId xmlns:a16="http://schemas.microsoft.com/office/drawing/2014/main" id="{72C23CEA-6435-422B-B4E1-F1C02921725F}"/>
              </a:ext>
            </a:extLst>
          </p:cNvPr>
          <p:cNvCxnSpPr>
            <a:cxnSpLocks/>
            <a:stCxn id="58" idx="2"/>
            <a:endCxn id="59" idx="3"/>
          </p:cNvCxnSpPr>
          <p:nvPr/>
        </p:nvCxnSpPr>
        <p:spPr>
          <a:xfrm rot="5400000">
            <a:off x="1576451" y="3047082"/>
            <a:ext cx="359664" cy="678389"/>
          </a:xfrm>
          <a:prstGeom prst="bentConnector2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64">
            <a:extLst>
              <a:ext uri="{FF2B5EF4-FFF2-40B4-BE49-F238E27FC236}">
                <a16:creationId xmlns:a16="http://schemas.microsoft.com/office/drawing/2014/main" id="{5158F4EC-F996-4F2D-9923-1ECC3A43C3FD}"/>
              </a:ext>
            </a:extLst>
          </p:cNvPr>
          <p:cNvSpPr txBox="1"/>
          <p:nvPr/>
        </p:nvSpPr>
        <p:spPr>
          <a:xfrm>
            <a:off x="1264979" y="1069186"/>
            <a:ext cx="172002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457189">
              <a:spcAft>
                <a:spcPts val="900"/>
              </a:spcAft>
            </a:pPr>
            <a:r>
              <a:rPr lang="en-US" sz="1400" dirty="0">
                <a:solidFill>
                  <a:srgbClr val="0F238C"/>
                </a:solidFill>
                <a:latin typeface="Arial"/>
              </a:rPr>
              <a:t>Internal Spectrometer</a:t>
            </a:r>
          </a:p>
        </p:txBody>
      </p: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36EB0234-D73F-41F2-A654-23C9FC1483A1}"/>
              </a:ext>
            </a:extLst>
          </p:cNvPr>
          <p:cNvCxnSpPr>
            <a:cxnSpLocks/>
            <a:stCxn id="56" idx="2"/>
            <a:endCxn id="58" idx="0"/>
          </p:cNvCxnSpPr>
          <p:nvPr/>
        </p:nvCxnSpPr>
        <p:spPr>
          <a:xfrm>
            <a:off x="1595885" y="2465653"/>
            <a:ext cx="499593" cy="277494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ED21615A-2949-4104-BD11-49C788C8BD69}"/>
              </a:ext>
            </a:extLst>
          </p:cNvPr>
          <p:cNvCxnSpPr>
            <a:cxnSpLocks/>
            <a:stCxn id="55" idx="2"/>
            <a:endCxn id="58" idx="0"/>
          </p:cNvCxnSpPr>
          <p:nvPr/>
        </p:nvCxnSpPr>
        <p:spPr>
          <a:xfrm flipH="1">
            <a:off x="2095478" y="1855671"/>
            <a:ext cx="6097" cy="887477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tangle 67">
            <a:extLst>
              <a:ext uri="{FF2B5EF4-FFF2-40B4-BE49-F238E27FC236}">
                <a16:creationId xmlns:a16="http://schemas.microsoft.com/office/drawing/2014/main" id="{45D82435-5122-4828-AC5D-B644264527D4}"/>
              </a:ext>
            </a:extLst>
          </p:cNvPr>
          <p:cNvSpPr/>
          <p:nvPr/>
        </p:nvSpPr>
        <p:spPr>
          <a:xfrm>
            <a:off x="3429676" y="1386279"/>
            <a:ext cx="155838" cy="158369"/>
          </a:xfrm>
          <a:prstGeom prst="rect">
            <a:avLst/>
          </a:prstGeom>
          <a:solidFill>
            <a:schemeClr val="bg1"/>
          </a:solidFill>
          <a:ln w="19050" cap="sq">
            <a:solidFill>
              <a:srgbClr val="08176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/>
            <a:endParaRPr lang="en-US">
              <a:solidFill>
                <a:srgbClr val="FFFFFF"/>
              </a:solidFill>
              <a:latin typeface="Arial"/>
            </a:endParaRPr>
          </a:p>
        </p:txBody>
      </p:sp>
      <p:cxnSp>
        <p:nvCxnSpPr>
          <p:cNvPr id="69" name="Connector: Elbow 68">
            <a:extLst>
              <a:ext uri="{FF2B5EF4-FFF2-40B4-BE49-F238E27FC236}">
                <a16:creationId xmlns:a16="http://schemas.microsoft.com/office/drawing/2014/main" id="{B64FDFAA-FD12-43D5-8C66-99DC28C6D210}"/>
              </a:ext>
            </a:extLst>
          </p:cNvPr>
          <p:cNvCxnSpPr>
            <a:cxnSpLocks/>
          </p:cNvCxnSpPr>
          <p:nvPr/>
        </p:nvCxnSpPr>
        <p:spPr>
          <a:xfrm flipV="1">
            <a:off x="2132612" y="2234006"/>
            <a:ext cx="1698741" cy="1151109"/>
          </a:xfrm>
          <a:prstGeom prst="bentConnector3">
            <a:avLst>
              <a:gd name="adj1" fmla="val 76914"/>
            </a:avLst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Connector: Elbow 69">
            <a:extLst>
              <a:ext uri="{FF2B5EF4-FFF2-40B4-BE49-F238E27FC236}">
                <a16:creationId xmlns:a16="http://schemas.microsoft.com/office/drawing/2014/main" id="{BAC089EC-7598-4A15-AC66-B6A2A44A3856}"/>
              </a:ext>
            </a:extLst>
          </p:cNvPr>
          <p:cNvCxnSpPr>
            <a:cxnSpLocks/>
          </p:cNvCxnSpPr>
          <p:nvPr/>
        </p:nvCxnSpPr>
        <p:spPr>
          <a:xfrm rot="16200000" flipH="1">
            <a:off x="3379543" y="1952859"/>
            <a:ext cx="357343" cy="2864512"/>
          </a:xfrm>
          <a:prstGeom prst="bentConnector2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E6B5F230-D355-4E2B-9486-67815006389C}"/>
              </a:ext>
            </a:extLst>
          </p:cNvPr>
          <p:cNvCxnSpPr>
            <a:cxnSpLocks/>
            <a:stCxn id="53" idx="3"/>
            <a:endCxn id="20" idx="1"/>
          </p:cNvCxnSpPr>
          <p:nvPr/>
        </p:nvCxnSpPr>
        <p:spPr>
          <a:xfrm>
            <a:off x="3583770" y="1624022"/>
            <a:ext cx="253678" cy="0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Connector: Elbow 71">
            <a:extLst>
              <a:ext uri="{FF2B5EF4-FFF2-40B4-BE49-F238E27FC236}">
                <a16:creationId xmlns:a16="http://schemas.microsoft.com/office/drawing/2014/main" id="{4A6CDC27-867D-468C-9EDC-3FF4FE05580A}"/>
              </a:ext>
            </a:extLst>
          </p:cNvPr>
          <p:cNvCxnSpPr>
            <a:cxnSpLocks/>
            <a:stCxn id="53" idx="2"/>
            <a:endCxn id="58" idx="3"/>
          </p:cNvCxnSpPr>
          <p:nvPr/>
        </p:nvCxnSpPr>
        <p:spPr>
          <a:xfrm rot="5400000">
            <a:off x="2280063" y="2087907"/>
            <a:ext cx="1119125" cy="654652"/>
          </a:xfrm>
          <a:prstGeom prst="bentConnector2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Box 72">
            <a:extLst>
              <a:ext uri="{FF2B5EF4-FFF2-40B4-BE49-F238E27FC236}">
                <a16:creationId xmlns:a16="http://schemas.microsoft.com/office/drawing/2014/main" id="{E6F45A9E-C4AA-4341-BDEE-8FED9D73AE58}"/>
              </a:ext>
            </a:extLst>
          </p:cNvPr>
          <p:cNvSpPr txBox="1"/>
          <p:nvPr/>
        </p:nvSpPr>
        <p:spPr>
          <a:xfrm>
            <a:off x="5026494" y="3913411"/>
            <a:ext cx="1080902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189">
              <a:spcAft>
                <a:spcPts val="900"/>
              </a:spcAft>
            </a:pPr>
            <a:r>
              <a:rPr lang="en-US" sz="1100" dirty="0">
                <a:solidFill>
                  <a:srgbClr val="1C7DDB"/>
                </a:solidFill>
                <a:latin typeface="Arial"/>
              </a:rPr>
              <a:t>Task 630 has 603 included</a:t>
            </a:r>
          </a:p>
        </p:txBody>
      </p:sp>
      <p:cxnSp>
        <p:nvCxnSpPr>
          <p:cNvPr id="74" name="Connector: Elbow 73">
            <a:extLst>
              <a:ext uri="{FF2B5EF4-FFF2-40B4-BE49-F238E27FC236}">
                <a16:creationId xmlns:a16="http://schemas.microsoft.com/office/drawing/2014/main" id="{36D47EEA-021B-4B37-92C9-D9A8C303CCEE}"/>
              </a:ext>
            </a:extLst>
          </p:cNvPr>
          <p:cNvCxnSpPr>
            <a:cxnSpLocks/>
            <a:stCxn id="20" idx="0"/>
            <a:endCxn id="9" idx="0"/>
          </p:cNvCxnSpPr>
          <p:nvPr/>
        </p:nvCxnSpPr>
        <p:spPr>
          <a:xfrm rot="5400000" flipH="1" flipV="1">
            <a:off x="5780382" y="-53924"/>
            <a:ext cx="12700" cy="2892599"/>
          </a:xfrm>
          <a:prstGeom prst="bentConnector3">
            <a:avLst>
              <a:gd name="adj1" fmla="val 887984"/>
            </a:avLst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Connector: Elbow 74">
            <a:extLst>
              <a:ext uri="{FF2B5EF4-FFF2-40B4-BE49-F238E27FC236}">
                <a16:creationId xmlns:a16="http://schemas.microsoft.com/office/drawing/2014/main" id="{6F744C33-B76F-4495-92BE-20998847A594}"/>
              </a:ext>
            </a:extLst>
          </p:cNvPr>
          <p:cNvCxnSpPr>
            <a:cxnSpLocks/>
            <a:stCxn id="20" idx="0"/>
            <a:endCxn id="55" idx="0"/>
          </p:cNvCxnSpPr>
          <p:nvPr/>
        </p:nvCxnSpPr>
        <p:spPr>
          <a:xfrm rot="16200000" flipV="1">
            <a:off x="3217829" y="276120"/>
            <a:ext cx="12700" cy="2232508"/>
          </a:xfrm>
          <a:prstGeom prst="bentConnector3">
            <a:avLst>
              <a:gd name="adj1" fmla="val 888000"/>
            </a:avLst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Rectangle 75">
            <a:extLst>
              <a:ext uri="{FF2B5EF4-FFF2-40B4-BE49-F238E27FC236}">
                <a16:creationId xmlns:a16="http://schemas.microsoft.com/office/drawing/2014/main" id="{A1F82D7F-C873-49BF-BE46-9929C0FFD466}"/>
              </a:ext>
            </a:extLst>
          </p:cNvPr>
          <p:cNvSpPr/>
          <p:nvPr/>
        </p:nvSpPr>
        <p:spPr>
          <a:xfrm>
            <a:off x="533504" y="2673624"/>
            <a:ext cx="933528" cy="587827"/>
          </a:xfrm>
          <a:prstGeom prst="rect">
            <a:avLst/>
          </a:prstGeom>
          <a:solidFill>
            <a:srgbClr val="FFFF00">
              <a:alpha val="40000"/>
            </a:srgbClr>
          </a:solidFill>
          <a:ln w="127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/>
            <a:endParaRPr lang="en-US" sz="1000" dirty="0">
              <a:solidFill>
                <a:srgbClr val="0F238C"/>
              </a:solidFill>
              <a:latin typeface="Arial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568AB8C4-2F04-4881-BFE3-7A8FC8DAF2E9}"/>
              </a:ext>
            </a:extLst>
          </p:cNvPr>
          <p:cNvSpPr/>
          <p:nvPr/>
        </p:nvSpPr>
        <p:spPr>
          <a:xfrm>
            <a:off x="1624412" y="2663376"/>
            <a:ext cx="933528" cy="587827"/>
          </a:xfrm>
          <a:prstGeom prst="rect">
            <a:avLst/>
          </a:prstGeom>
          <a:solidFill>
            <a:srgbClr val="FFFF00">
              <a:alpha val="40000"/>
            </a:srgbClr>
          </a:solidFill>
          <a:ln w="127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/>
            <a:endParaRPr lang="en-US" sz="1000" dirty="0">
              <a:solidFill>
                <a:srgbClr val="0F238C"/>
              </a:solidFill>
              <a:latin typeface="Arial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2A9D44BB-4D38-499E-9D79-79AC005FB3EF}"/>
              </a:ext>
            </a:extLst>
          </p:cNvPr>
          <p:cNvSpPr/>
          <p:nvPr/>
        </p:nvSpPr>
        <p:spPr>
          <a:xfrm>
            <a:off x="533504" y="1318032"/>
            <a:ext cx="933528" cy="587827"/>
          </a:xfrm>
          <a:prstGeom prst="rect">
            <a:avLst/>
          </a:prstGeom>
          <a:solidFill>
            <a:srgbClr val="FFFF00">
              <a:alpha val="40000"/>
            </a:srgbClr>
          </a:solidFill>
          <a:ln w="127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/>
            <a:endParaRPr lang="en-US" sz="1000" dirty="0">
              <a:solidFill>
                <a:srgbClr val="0F238C"/>
              </a:solidFill>
              <a:latin typeface="Arial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FFE86F8-AC98-483C-BB9C-C90328F7A663}"/>
              </a:ext>
            </a:extLst>
          </p:cNvPr>
          <p:cNvSpPr/>
          <p:nvPr/>
        </p:nvSpPr>
        <p:spPr>
          <a:xfrm>
            <a:off x="1631762" y="1330109"/>
            <a:ext cx="933528" cy="587827"/>
          </a:xfrm>
          <a:prstGeom prst="rect">
            <a:avLst/>
          </a:prstGeom>
          <a:solidFill>
            <a:srgbClr val="FFFF00">
              <a:alpha val="40000"/>
            </a:srgbClr>
          </a:solidFill>
          <a:ln w="127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/>
            <a:endParaRPr lang="en-US" sz="1000" dirty="0">
              <a:solidFill>
                <a:srgbClr val="0F238C"/>
              </a:solidFill>
              <a:latin typeface="Arial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D95D9385-8DD2-45FE-9AB6-574DA139472C}"/>
              </a:ext>
            </a:extLst>
          </p:cNvPr>
          <p:cNvSpPr/>
          <p:nvPr/>
        </p:nvSpPr>
        <p:spPr>
          <a:xfrm>
            <a:off x="1118808" y="1943860"/>
            <a:ext cx="933528" cy="587827"/>
          </a:xfrm>
          <a:prstGeom prst="rect">
            <a:avLst/>
          </a:prstGeom>
          <a:solidFill>
            <a:srgbClr val="FFFF00">
              <a:alpha val="40000"/>
            </a:srgbClr>
          </a:solidFill>
          <a:ln w="127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/>
            <a:endParaRPr lang="en-US" sz="1000" dirty="0">
              <a:solidFill>
                <a:srgbClr val="0F238C"/>
              </a:solidFill>
              <a:latin typeface="Arial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85FE889C-1019-43F5-BBA6-0F8DA3D24E68}"/>
              </a:ext>
            </a:extLst>
          </p:cNvPr>
          <p:cNvSpPr/>
          <p:nvPr/>
        </p:nvSpPr>
        <p:spPr>
          <a:xfrm>
            <a:off x="2129342" y="1934919"/>
            <a:ext cx="933528" cy="587827"/>
          </a:xfrm>
          <a:prstGeom prst="rect">
            <a:avLst/>
          </a:prstGeom>
          <a:solidFill>
            <a:srgbClr val="FFFF00">
              <a:alpha val="40000"/>
            </a:srgbClr>
          </a:solidFill>
          <a:ln w="127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/>
            <a:endParaRPr lang="en-US" sz="1000" dirty="0">
              <a:solidFill>
                <a:srgbClr val="0F238C"/>
              </a:solidFill>
              <a:latin typeface="Arial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5AC62A74-AE2D-44F6-99FE-C76D3323EB65}"/>
              </a:ext>
            </a:extLst>
          </p:cNvPr>
          <p:cNvSpPr/>
          <p:nvPr/>
        </p:nvSpPr>
        <p:spPr>
          <a:xfrm>
            <a:off x="3792948" y="2687231"/>
            <a:ext cx="1113444" cy="587827"/>
          </a:xfrm>
          <a:prstGeom prst="rect">
            <a:avLst/>
          </a:prstGeom>
          <a:solidFill>
            <a:srgbClr val="FFFF00">
              <a:alpha val="40000"/>
            </a:srgbClr>
          </a:solidFill>
          <a:ln w="127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/>
            <a:endParaRPr lang="en-US" sz="1000" dirty="0">
              <a:solidFill>
                <a:srgbClr val="0F238C"/>
              </a:solidFill>
              <a:latin typeface="Arial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6321313A-A12D-4E49-89EB-00AB2B0AC2A5}"/>
              </a:ext>
            </a:extLst>
          </p:cNvPr>
          <p:cNvSpPr/>
          <p:nvPr/>
        </p:nvSpPr>
        <p:spPr>
          <a:xfrm>
            <a:off x="4946653" y="2674767"/>
            <a:ext cx="1080901" cy="587827"/>
          </a:xfrm>
          <a:prstGeom prst="rect">
            <a:avLst/>
          </a:prstGeom>
          <a:solidFill>
            <a:srgbClr val="FFFF00">
              <a:alpha val="40000"/>
            </a:srgbClr>
          </a:solidFill>
          <a:ln w="127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/>
            <a:endParaRPr lang="en-US" sz="1000" dirty="0">
              <a:solidFill>
                <a:srgbClr val="0F238C"/>
              </a:solidFill>
              <a:latin typeface="Arial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E50FF36F-C6BC-41F3-945C-C58816ADD3C2}"/>
              </a:ext>
            </a:extLst>
          </p:cNvPr>
          <p:cNvSpPr/>
          <p:nvPr/>
        </p:nvSpPr>
        <p:spPr>
          <a:xfrm>
            <a:off x="4949284" y="1940259"/>
            <a:ext cx="1113444" cy="587827"/>
          </a:xfrm>
          <a:prstGeom prst="rect">
            <a:avLst/>
          </a:prstGeom>
          <a:solidFill>
            <a:srgbClr val="FFFF00">
              <a:alpha val="40000"/>
            </a:srgbClr>
          </a:solidFill>
          <a:ln w="127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/>
            <a:endParaRPr lang="en-US" sz="1000" dirty="0">
              <a:solidFill>
                <a:srgbClr val="0F238C"/>
              </a:solidFill>
              <a:latin typeface="Arial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DA03AE29-A433-4F3C-BD2B-6E5F4B820D2F}"/>
              </a:ext>
            </a:extLst>
          </p:cNvPr>
          <p:cNvSpPr/>
          <p:nvPr/>
        </p:nvSpPr>
        <p:spPr>
          <a:xfrm>
            <a:off x="6178680" y="1925727"/>
            <a:ext cx="989132" cy="605960"/>
          </a:xfrm>
          <a:prstGeom prst="rect">
            <a:avLst/>
          </a:prstGeom>
          <a:solidFill>
            <a:srgbClr val="FFFF00">
              <a:alpha val="40000"/>
            </a:srgbClr>
          </a:solidFill>
          <a:ln w="127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/>
            <a:endParaRPr lang="en-US" sz="1000" dirty="0">
              <a:solidFill>
                <a:srgbClr val="0F238C"/>
              </a:solidFill>
              <a:latin typeface="Arial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52289578-2901-4AA4-A944-52737BC6EDA3}"/>
              </a:ext>
            </a:extLst>
          </p:cNvPr>
          <p:cNvSpPr/>
          <p:nvPr/>
        </p:nvSpPr>
        <p:spPr>
          <a:xfrm>
            <a:off x="7285331" y="1921637"/>
            <a:ext cx="989132" cy="605960"/>
          </a:xfrm>
          <a:prstGeom prst="rect">
            <a:avLst/>
          </a:prstGeom>
          <a:solidFill>
            <a:srgbClr val="FFFF00">
              <a:alpha val="40000"/>
            </a:srgbClr>
          </a:solidFill>
          <a:ln w="127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/>
            <a:endParaRPr lang="en-US" sz="1000" dirty="0">
              <a:solidFill>
                <a:srgbClr val="0F238C"/>
              </a:solidFill>
              <a:latin typeface="Arial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173D841B-7C2F-4890-A31B-A77D65A1D97D}"/>
              </a:ext>
            </a:extLst>
          </p:cNvPr>
          <p:cNvSpPr/>
          <p:nvPr/>
        </p:nvSpPr>
        <p:spPr>
          <a:xfrm>
            <a:off x="3781395" y="3901968"/>
            <a:ext cx="1124998" cy="605960"/>
          </a:xfrm>
          <a:prstGeom prst="rect">
            <a:avLst/>
          </a:prstGeom>
          <a:solidFill>
            <a:srgbClr val="FFFF00">
              <a:alpha val="40000"/>
            </a:srgbClr>
          </a:solidFill>
          <a:ln w="127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/>
            <a:endParaRPr lang="en-US" sz="1000" dirty="0">
              <a:solidFill>
                <a:srgbClr val="0F238C"/>
              </a:solidFill>
              <a:latin typeface="Arial"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9EF5C829-2D1E-4C95-B29D-BB735A97923B}"/>
              </a:ext>
            </a:extLst>
          </p:cNvPr>
          <p:cNvSpPr/>
          <p:nvPr/>
        </p:nvSpPr>
        <p:spPr>
          <a:xfrm>
            <a:off x="4946653" y="4225034"/>
            <a:ext cx="1076833" cy="587816"/>
          </a:xfrm>
          <a:prstGeom prst="rect">
            <a:avLst/>
          </a:prstGeom>
          <a:solidFill>
            <a:srgbClr val="FFFF00">
              <a:alpha val="40000"/>
            </a:srgbClr>
          </a:solidFill>
          <a:ln w="127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/>
            <a:endParaRPr lang="en-US" sz="1000" dirty="0">
              <a:solidFill>
                <a:srgbClr val="0F238C"/>
              </a:solidFill>
              <a:latin typeface="Arial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BF364FCC-4B60-48E5-9104-AAE0EFDE38CB}"/>
              </a:ext>
            </a:extLst>
          </p:cNvPr>
          <p:cNvSpPr/>
          <p:nvPr/>
        </p:nvSpPr>
        <p:spPr>
          <a:xfrm>
            <a:off x="6701048" y="2680880"/>
            <a:ext cx="1025656" cy="587827"/>
          </a:xfrm>
          <a:prstGeom prst="rect">
            <a:avLst/>
          </a:prstGeom>
          <a:solidFill>
            <a:srgbClr val="FFFF00">
              <a:alpha val="40000"/>
            </a:srgbClr>
          </a:solidFill>
          <a:ln w="127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/>
            <a:endParaRPr lang="en-US" sz="1000" dirty="0">
              <a:solidFill>
                <a:srgbClr val="0F238C"/>
              </a:solidFill>
              <a:latin typeface="Arial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12768100-B2BD-4423-98C3-047E245B764B}"/>
              </a:ext>
            </a:extLst>
          </p:cNvPr>
          <p:cNvSpPr/>
          <p:nvPr/>
        </p:nvSpPr>
        <p:spPr>
          <a:xfrm>
            <a:off x="7779897" y="2683624"/>
            <a:ext cx="989132" cy="587827"/>
          </a:xfrm>
          <a:prstGeom prst="rect">
            <a:avLst/>
          </a:prstGeom>
          <a:solidFill>
            <a:srgbClr val="FFFF00">
              <a:alpha val="40000"/>
            </a:srgbClr>
          </a:solidFill>
          <a:ln w="127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/>
            <a:endParaRPr lang="en-US" sz="1000" dirty="0">
              <a:solidFill>
                <a:srgbClr val="0F238C"/>
              </a:solidFill>
              <a:latin typeface="Arial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D50F9C15-C23D-4C14-AD08-B66ED4F33403}"/>
              </a:ext>
            </a:extLst>
          </p:cNvPr>
          <p:cNvSpPr/>
          <p:nvPr/>
        </p:nvSpPr>
        <p:spPr>
          <a:xfrm>
            <a:off x="6737362" y="1336996"/>
            <a:ext cx="998653" cy="557618"/>
          </a:xfrm>
          <a:prstGeom prst="rect">
            <a:avLst/>
          </a:prstGeom>
          <a:solidFill>
            <a:srgbClr val="FFFF00">
              <a:alpha val="40000"/>
            </a:srgbClr>
          </a:solidFill>
          <a:ln w="127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/>
            <a:endParaRPr lang="en-US" sz="1000" dirty="0">
              <a:solidFill>
                <a:srgbClr val="0F238C"/>
              </a:solidFill>
              <a:latin typeface="Arial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2738393F-0B07-4B60-A450-EA53B3EED03D}"/>
              </a:ext>
            </a:extLst>
          </p:cNvPr>
          <p:cNvSpPr txBox="1"/>
          <p:nvPr/>
        </p:nvSpPr>
        <p:spPr>
          <a:xfrm>
            <a:off x="484385" y="549971"/>
            <a:ext cx="700528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189">
              <a:spcAft>
                <a:spcPts val="900"/>
              </a:spcAft>
            </a:pPr>
            <a:r>
              <a:rPr lang="en-US" dirty="0">
                <a:solidFill>
                  <a:srgbClr val="0F238C">
                    <a:lumMod val="75000"/>
                  </a:srgbClr>
                </a:solidFill>
                <a:latin typeface="Arial"/>
              </a:rPr>
              <a:t>ACE </a:t>
            </a:r>
            <a:r>
              <a:rPr lang="en-US" dirty="0">
                <a:solidFill>
                  <a:srgbClr val="0F238D"/>
                </a:solidFill>
                <a:latin typeface="Arial"/>
              </a:rPr>
              <a:t>contributes </a:t>
            </a:r>
            <a:r>
              <a:rPr lang="en-US" dirty="0">
                <a:solidFill>
                  <a:srgbClr val="FF0000"/>
                </a:solidFill>
                <a:latin typeface="Arial"/>
              </a:rPr>
              <a:t>16</a:t>
            </a:r>
            <a:r>
              <a:rPr lang="en-US" dirty="0">
                <a:solidFill>
                  <a:srgbClr val="0F238D"/>
                </a:solidFill>
                <a:latin typeface="Arial"/>
              </a:rPr>
              <a:t> out of 24 blocks for </a:t>
            </a:r>
            <a:r>
              <a:rPr lang="en-US" dirty="0">
                <a:solidFill>
                  <a:srgbClr val="0F238C">
                    <a:lumMod val="75000"/>
                  </a:srgbClr>
                </a:solidFill>
                <a:latin typeface="Arial"/>
              </a:rPr>
              <a:t>CLM SP18 delivery!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71B2668-C385-4550-B4BE-6C56C53F7F13}"/>
              </a:ext>
            </a:extLst>
          </p:cNvPr>
          <p:cNvSpPr txBox="1"/>
          <p:nvPr/>
        </p:nvSpPr>
        <p:spPr>
          <a:xfrm>
            <a:off x="2763274" y="4857552"/>
            <a:ext cx="4638257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900"/>
              </a:spcAft>
            </a:pPr>
            <a:r>
              <a:rPr lang="en-US" dirty="0">
                <a:solidFill>
                  <a:srgbClr val="000000"/>
                </a:solidFill>
                <a:latin typeface="+mn-lt"/>
              </a:rPr>
              <a:t>Fig. Full YS(1)375 CL Module Tasks Package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B9CE0FB0-6EA3-4DDE-AF93-C2A6F6036895}"/>
              </a:ext>
            </a:extLst>
          </p:cNvPr>
          <p:cNvSpPr/>
          <p:nvPr/>
        </p:nvSpPr>
        <p:spPr>
          <a:xfrm>
            <a:off x="1975105" y="4156857"/>
            <a:ext cx="933528" cy="587827"/>
          </a:xfrm>
          <a:prstGeom prst="rect">
            <a:avLst/>
          </a:prstGeom>
          <a:solidFill>
            <a:srgbClr val="FFFF00">
              <a:alpha val="40000"/>
            </a:srgbClr>
          </a:solidFill>
          <a:ln w="127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/>
            <a:endParaRPr lang="en-US" sz="1000" dirty="0">
              <a:solidFill>
                <a:srgbClr val="0F238C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323308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 animBg="1"/>
      <p:bldP spid="76" grpId="0" animBg="1"/>
      <p:bldP spid="77" grpId="0" animBg="1"/>
      <p:bldP spid="78" grpId="0" animBg="1"/>
      <p:bldP spid="79" grpId="0" animBg="1"/>
      <p:bldP spid="80" grpId="0" animBg="1"/>
      <p:bldP spid="81" grpId="0" animBg="1"/>
      <p:bldP spid="82" grpId="0" animBg="1"/>
      <p:bldP spid="83" grpId="0" animBg="1"/>
      <p:bldP spid="84" grpId="0" animBg="1"/>
      <p:bldP spid="85" grpId="0" animBg="1"/>
      <p:bldP spid="86" grpId="0" animBg="1"/>
      <p:bldP spid="87" grpId="0" animBg="1"/>
      <p:bldP spid="88" grpId="0" animBg="1"/>
      <p:bldP spid="90" grpId="0" animBg="1"/>
      <p:bldP spid="91" grpId="0" animBg="1"/>
      <p:bldP spid="92" grpId="0" animBg="1"/>
      <p:bldP spid="95" grpId="0"/>
      <p:bldP spid="96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/>
              <a:t>Working</a:t>
            </a:r>
            <a:r>
              <a:rPr lang="nl-NL" dirty="0"/>
              <a:t> </a:t>
            </a:r>
            <a:r>
              <a:rPr lang="nl-NL" dirty="0" err="1"/>
              <a:t>our</a:t>
            </a:r>
            <a:r>
              <a:rPr lang="nl-NL" dirty="0"/>
              <a:t> way </a:t>
            </a:r>
            <a:r>
              <a:rPr lang="nl-NL" dirty="0" err="1"/>
              <a:t>through</a:t>
            </a:r>
            <a:r>
              <a:rPr lang="nl-NL" dirty="0"/>
              <a:t> the V-diagram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9E589B-AAA2-4E83-AFD3-2993C58A57EE}" type="datetime3">
              <a:rPr lang="en-US" smtClean="0"/>
              <a:pPr/>
              <a:t>1 May 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/>
              <a:t>Slide </a:t>
            </a:r>
            <a:fld id="{2BF23E3A-8558-42B9-AEEE-59D910584A16}" type="slidenum">
              <a:rPr lang="en-US" smtClean="0"/>
              <a:pPr/>
              <a:t>25</a:t>
            </a:fld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942975" y="2528001"/>
            <a:ext cx="6115050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3962400" y="542925"/>
            <a:ext cx="11906" cy="4200525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3961209" y="1234982"/>
            <a:ext cx="1643937" cy="459581"/>
          </a:xfrm>
          <a:prstGeom prst="wedgeEllipseCallout">
            <a:avLst>
              <a:gd name="adj1" fmla="val -37838"/>
              <a:gd name="adj2" fmla="val 147898"/>
            </a:avLst>
          </a:prstGeom>
          <a:noFill/>
          <a:ln w="6350" algn="ctr">
            <a:solidFill>
              <a:srgbClr val="FF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algn="ctr">
              <a:lnSpc>
                <a:spcPct val="95000"/>
              </a:lnSpc>
            </a:pPr>
            <a:r>
              <a:rPr lang="en-US" sz="900">
                <a:solidFill>
                  <a:srgbClr val="FF0000"/>
                </a:solidFill>
                <a:ea typeface="+mn-ea"/>
              </a:rPr>
              <a:t>Qualify design versus requirements at all levels</a:t>
            </a:r>
          </a:p>
        </p:txBody>
      </p:sp>
      <p:sp>
        <p:nvSpPr>
          <p:cNvPr id="11" name="Rectangle 4"/>
          <p:cNvSpPr>
            <a:spLocks noChangeArrowheads="1"/>
          </p:cNvSpPr>
          <p:nvPr/>
        </p:nvSpPr>
        <p:spPr bwMode="auto">
          <a:xfrm>
            <a:off x="5974518" y="2036272"/>
            <a:ext cx="727472" cy="410766"/>
          </a:xfrm>
          <a:prstGeom prst="rect">
            <a:avLst/>
          </a:prstGeom>
          <a:solidFill>
            <a:schemeClr val="accent1">
              <a:lumMod val="40000"/>
              <a:lumOff val="60000"/>
              <a:alpha val="70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4290" rIns="0" bIns="0"/>
          <a:lstStyle/>
          <a:p>
            <a:pPr>
              <a:lnSpc>
                <a:spcPct val="80000"/>
              </a:lnSpc>
              <a:defRPr/>
            </a:pPr>
            <a:r>
              <a:rPr lang="en-US" sz="900" b="1">
                <a:solidFill>
                  <a:srgbClr val="1C7DDB"/>
                </a:solidFill>
                <a:ea typeface="+mn-ea"/>
              </a:rPr>
              <a:t>TAR</a:t>
            </a:r>
          </a:p>
          <a:p>
            <a:pPr>
              <a:lnSpc>
                <a:spcPct val="80000"/>
              </a:lnSpc>
              <a:defRPr/>
            </a:pPr>
            <a:r>
              <a:rPr lang="en-US" sz="900" b="1">
                <a:solidFill>
                  <a:srgbClr val="1C7DDB"/>
                </a:solidFill>
                <a:ea typeface="+mn-ea"/>
              </a:rPr>
              <a:t>(Alpha test)</a:t>
            </a:r>
          </a:p>
        </p:txBody>
      </p:sp>
      <p:cxnSp>
        <p:nvCxnSpPr>
          <p:cNvPr id="12" name="AutoShape 6"/>
          <p:cNvCxnSpPr>
            <a:cxnSpLocks noChangeShapeType="1"/>
            <a:stCxn id="11" idx="2"/>
            <a:endCxn id="37" idx="0"/>
          </p:cNvCxnSpPr>
          <p:nvPr>
            <p:custDataLst>
              <p:tags r:id="rId1"/>
            </p:custDataLst>
          </p:nvPr>
        </p:nvCxnSpPr>
        <p:spPr bwMode="auto">
          <a:xfrm rot="5400000">
            <a:off x="6257590" y="2527108"/>
            <a:ext cx="160734" cy="595"/>
          </a:xfrm>
          <a:prstGeom prst="bentConnector3">
            <a:avLst>
              <a:gd name="adj1" fmla="val 50000"/>
            </a:avLst>
          </a:prstGeom>
          <a:noFill/>
          <a:ln w="6350">
            <a:solidFill>
              <a:schemeClr val="accent1"/>
            </a:solidFill>
            <a:miter lim="800000"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" name="Rectangle 8"/>
          <p:cNvSpPr>
            <a:spLocks noChangeArrowheads="1"/>
          </p:cNvSpPr>
          <p:nvPr/>
        </p:nvSpPr>
        <p:spPr bwMode="auto">
          <a:xfrm>
            <a:off x="3239691" y="3180463"/>
            <a:ext cx="479822" cy="409575"/>
          </a:xfrm>
          <a:prstGeom prst="rect">
            <a:avLst/>
          </a:prstGeom>
          <a:solidFill>
            <a:schemeClr val="accent1">
              <a:lumMod val="40000"/>
              <a:lumOff val="60000"/>
              <a:alpha val="70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4290" rIns="0" bIns="0"/>
          <a:lstStyle/>
          <a:p>
            <a:pPr>
              <a:lnSpc>
                <a:spcPct val="80000"/>
              </a:lnSpc>
              <a:defRPr/>
            </a:pPr>
            <a:r>
              <a:rPr lang="en-US" sz="900" b="1" dirty="0">
                <a:solidFill>
                  <a:srgbClr val="1C7DDB"/>
                </a:solidFill>
                <a:ea typeface="+mn-ea"/>
              </a:rPr>
              <a:t>EDS</a:t>
            </a:r>
          </a:p>
        </p:txBody>
      </p:sp>
      <p:sp>
        <p:nvSpPr>
          <p:cNvPr id="14" name="Rectangle 11"/>
          <p:cNvSpPr>
            <a:spLocks noChangeArrowheads="1"/>
          </p:cNvSpPr>
          <p:nvPr/>
        </p:nvSpPr>
        <p:spPr bwMode="auto">
          <a:xfrm>
            <a:off x="3239691" y="3762678"/>
            <a:ext cx="479822" cy="410766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</p:spPr>
        <p:txBody>
          <a:bodyPr lIns="34290" rIns="0" bIns="0"/>
          <a:lstStyle/>
          <a:p>
            <a:pPr>
              <a:lnSpc>
                <a:spcPct val="80000"/>
              </a:lnSpc>
              <a:defRPr/>
            </a:pPr>
            <a:r>
              <a:rPr lang="en-US" sz="900" b="1">
                <a:solidFill>
                  <a:srgbClr val="000000"/>
                </a:solidFill>
                <a:ea typeface="+mn-ea"/>
                <a:cs typeface="Arial" charset="0"/>
              </a:rPr>
              <a:t>TPD</a:t>
            </a:r>
          </a:p>
        </p:txBody>
      </p:sp>
      <p:cxnSp>
        <p:nvCxnSpPr>
          <p:cNvPr id="15" name="AutoShape 13"/>
          <p:cNvCxnSpPr>
            <a:cxnSpLocks noChangeShapeType="1"/>
            <a:endCxn id="14" idx="0"/>
          </p:cNvCxnSpPr>
          <p:nvPr/>
        </p:nvCxnSpPr>
        <p:spPr bwMode="auto">
          <a:xfrm>
            <a:off x="3480196" y="3600753"/>
            <a:ext cx="0" cy="161925"/>
          </a:xfrm>
          <a:prstGeom prst="straightConnector1">
            <a:avLst/>
          </a:prstGeom>
          <a:noFill/>
          <a:ln w="6350">
            <a:solidFill>
              <a:schemeClr val="accent1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" name="Rectangle 16"/>
          <p:cNvSpPr>
            <a:spLocks noChangeArrowheads="1"/>
          </p:cNvSpPr>
          <p:nvPr/>
        </p:nvSpPr>
        <p:spPr bwMode="auto">
          <a:xfrm>
            <a:off x="3609975" y="4265122"/>
            <a:ext cx="601265" cy="41076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 algn="ctr">
            <a:solidFill>
              <a:srgbClr val="669900"/>
            </a:solidFill>
            <a:miter lim="800000"/>
            <a:headEnd/>
            <a:tailEnd/>
          </a:ln>
          <a:effectLst/>
        </p:spPr>
        <p:txBody>
          <a:bodyPr lIns="34290" rIns="0" bIns="0"/>
          <a:lstStyle/>
          <a:p>
            <a:pPr>
              <a:lnSpc>
                <a:spcPct val="80000"/>
              </a:lnSpc>
              <a:defRPr/>
            </a:pPr>
            <a:r>
              <a:rPr lang="en-US" sz="900" b="1">
                <a:solidFill>
                  <a:srgbClr val="1C7DDB"/>
                </a:solidFill>
                <a:ea typeface="+mn-ea"/>
              </a:rPr>
              <a:t>Parts</a:t>
            </a:r>
          </a:p>
          <a:p>
            <a:pPr>
              <a:lnSpc>
                <a:spcPct val="80000"/>
              </a:lnSpc>
              <a:defRPr/>
            </a:pPr>
            <a:r>
              <a:rPr lang="en-US" sz="900" b="1">
                <a:solidFill>
                  <a:srgbClr val="1C7DDB"/>
                </a:solidFill>
                <a:ea typeface="+mn-ea"/>
              </a:rPr>
              <a:t>SW Code</a:t>
            </a:r>
          </a:p>
        </p:txBody>
      </p:sp>
      <p:sp>
        <p:nvSpPr>
          <p:cNvPr id="17" name="Rectangle 19"/>
          <p:cNvSpPr>
            <a:spLocks noChangeArrowheads="1"/>
          </p:cNvSpPr>
          <p:nvPr/>
        </p:nvSpPr>
        <p:spPr bwMode="auto">
          <a:xfrm>
            <a:off x="4063603" y="3762678"/>
            <a:ext cx="479822" cy="410766"/>
          </a:xfrm>
          <a:prstGeom prst="rect">
            <a:avLst/>
          </a:prstGeom>
          <a:solidFill>
            <a:schemeClr val="accent1">
              <a:lumMod val="40000"/>
              <a:lumOff val="60000"/>
              <a:alpha val="70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4290" rIns="0" bIns="0"/>
          <a:lstStyle/>
          <a:p>
            <a:pPr>
              <a:lnSpc>
                <a:spcPct val="80000"/>
              </a:lnSpc>
              <a:defRPr/>
            </a:pPr>
            <a:r>
              <a:rPr lang="en-US" sz="900" b="1">
                <a:solidFill>
                  <a:srgbClr val="1C7DDB"/>
                </a:solidFill>
                <a:ea typeface="+mn-ea"/>
              </a:rPr>
              <a:t>TAR</a:t>
            </a:r>
          </a:p>
          <a:p>
            <a:pPr>
              <a:lnSpc>
                <a:spcPct val="80000"/>
              </a:lnSpc>
              <a:defRPr/>
            </a:pPr>
            <a:r>
              <a:rPr lang="en-US" sz="900" b="1">
                <a:solidFill>
                  <a:srgbClr val="1C7DDB"/>
                </a:solidFill>
                <a:ea typeface="+mn-ea"/>
              </a:rPr>
              <a:t>Parts</a:t>
            </a:r>
          </a:p>
        </p:txBody>
      </p:sp>
      <p:cxnSp>
        <p:nvCxnSpPr>
          <p:cNvPr id="18" name="AutoShape 21"/>
          <p:cNvCxnSpPr>
            <a:cxnSpLocks noChangeShapeType="1"/>
            <a:endCxn id="16" idx="1"/>
          </p:cNvCxnSpPr>
          <p:nvPr/>
        </p:nvCxnSpPr>
        <p:spPr bwMode="auto">
          <a:xfrm rot="16200000" flipH="1">
            <a:off x="3396258" y="4257383"/>
            <a:ext cx="297656" cy="129779"/>
          </a:xfrm>
          <a:prstGeom prst="bentConnector2">
            <a:avLst/>
          </a:prstGeom>
          <a:noFill/>
          <a:ln w="6350">
            <a:solidFill>
              <a:schemeClr val="accent1"/>
            </a:solidFill>
            <a:miter lim="800000"/>
            <a:headEnd type="triangle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9" name="Rectangle 23"/>
          <p:cNvSpPr>
            <a:spLocks noChangeArrowheads="1"/>
          </p:cNvSpPr>
          <p:nvPr/>
        </p:nvSpPr>
        <p:spPr bwMode="auto">
          <a:xfrm>
            <a:off x="2607840" y="2607772"/>
            <a:ext cx="479822" cy="410766"/>
          </a:xfrm>
          <a:prstGeom prst="rect">
            <a:avLst/>
          </a:prstGeom>
          <a:solidFill>
            <a:schemeClr val="accent1">
              <a:lumMod val="40000"/>
              <a:lumOff val="60000"/>
              <a:alpha val="70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4290" rIns="0" bIns="0"/>
          <a:lstStyle/>
          <a:p>
            <a:pPr>
              <a:lnSpc>
                <a:spcPct val="80000"/>
              </a:lnSpc>
              <a:defRPr/>
            </a:pPr>
            <a:r>
              <a:rPr lang="en-US" sz="900" b="1" dirty="0">
                <a:solidFill>
                  <a:srgbClr val="1C7DDB"/>
                </a:solidFill>
                <a:ea typeface="+mn-ea"/>
              </a:rPr>
              <a:t>EDS</a:t>
            </a:r>
          </a:p>
        </p:txBody>
      </p:sp>
      <p:sp>
        <p:nvSpPr>
          <p:cNvPr id="20" name="Rectangle 26"/>
          <p:cNvSpPr>
            <a:spLocks noChangeArrowheads="1"/>
          </p:cNvSpPr>
          <p:nvPr/>
        </p:nvSpPr>
        <p:spPr bwMode="auto">
          <a:xfrm>
            <a:off x="2607840" y="3189989"/>
            <a:ext cx="479822" cy="410765"/>
          </a:xfrm>
          <a:prstGeom prst="rect">
            <a:avLst/>
          </a:prstGeom>
          <a:solidFill>
            <a:schemeClr val="accent1">
              <a:lumMod val="40000"/>
              <a:lumOff val="60000"/>
              <a:alpha val="70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4290" rIns="0" bIns="0"/>
          <a:lstStyle/>
          <a:p>
            <a:pPr>
              <a:lnSpc>
                <a:spcPct val="80000"/>
              </a:lnSpc>
              <a:defRPr/>
            </a:pPr>
            <a:r>
              <a:rPr lang="en-US" sz="900" b="1" dirty="0">
                <a:solidFill>
                  <a:srgbClr val="1C7DDB"/>
                </a:solidFill>
                <a:ea typeface="+mn-ea"/>
              </a:rPr>
              <a:t>EPS TPS</a:t>
            </a:r>
          </a:p>
        </p:txBody>
      </p:sp>
      <p:cxnSp>
        <p:nvCxnSpPr>
          <p:cNvPr id="21" name="AutoShape 28"/>
          <p:cNvCxnSpPr>
            <a:cxnSpLocks noChangeShapeType="1"/>
          </p:cNvCxnSpPr>
          <p:nvPr/>
        </p:nvCxnSpPr>
        <p:spPr bwMode="auto">
          <a:xfrm>
            <a:off x="2909887" y="3018538"/>
            <a:ext cx="0" cy="171450"/>
          </a:xfrm>
          <a:prstGeom prst="straightConnector1">
            <a:avLst/>
          </a:prstGeom>
          <a:noFill/>
          <a:ln w="6350">
            <a:solidFill>
              <a:schemeClr val="accent1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AutoShape 29"/>
          <p:cNvCxnSpPr>
            <a:cxnSpLocks noChangeShapeType="1"/>
            <a:stCxn id="20" idx="3"/>
            <a:endCxn id="13" idx="1"/>
          </p:cNvCxnSpPr>
          <p:nvPr/>
        </p:nvCxnSpPr>
        <p:spPr bwMode="auto">
          <a:xfrm flipV="1">
            <a:off x="3087662" y="3385250"/>
            <a:ext cx="152028" cy="10121"/>
          </a:xfrm>
          <a:prstGeom prst="straightConnector1">
            <a:avLst/>
          </a:prstGeom>
          <a:noFill/>
          <a:ln w="6350">
            <a:solidFill>
              <a:schemeClr val="accent1"/>
            </a:solidFill>
            <a:round/>
            <a:headEnd type="triangle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AutoShape 30"/>
          <p:cNvCxnSpPr>
            <a:cxnSpLocks noChangeShapeType="1"/>
            <a:stCxn id="16" idx="3"/>
          </p:cNvCxnSpPr>
          <p:nvPr/>
        </p:nvCxnSpPr>
        <p:spPr bwMode="auto">
          <a:xfrm flipV="1">
            <a:off x="4211240" y="4173445"/>
            <a:ext cx="92869" cy="297656"/>
          </a:xfrm>
          <a:prstGeom prst="bentConnector2">
            <a:avLst/>
          </a:prstGeom>
          <a:noFill/>
          <a:ln w="6350">
            <a:solidFill>
              <a:schemeClr val="accent1"/>
            </a:solidFill>
            <a:miter lim="800000"/>
            <a:headEnd type="triangle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4" name="AutoShape 31"/>
          <p:cNvSpPr>
            <a:spLocks noChangeArrowheads="1"/>
          </p:cNvSpPr>
          <p:nvPr/>
        </p:nvSpPr>
        <p:spPr bwMode="auto">
          <a:xfrm flipH="1">
            <a:off x="2613421" y="2164860"/>
            <a:ext cx="3143250" cy="311944"/>
          </a:xfrm>
          <a:prstGeom prst="curvedDownArrow">
            <a:avLst>
              <a:gd name="adj1" fmla="val 28643"/>
              <a:gd name="adj2" fmla="val 181001"/>
              <a:gd name="adj3" fmla="val 32829"/>
            </a:avLst>
          </a:prstGeom>
          <a:noFill/>
          <a:ln w="6350">
            <a:solidFill>
              <a:srgbClr val="FF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l">
              <a:lnSpc>
                <a:spcPct val="95000"/>
              </a:lnSpc>
            </a:pPr>
            <a:endParaRPr lang="nl-NL" sz="1200">
              <a:solidFill>
                <a:srgbClr val="1C7DDB"/>
              </a:solidFill>
              <a:ea typeface="+mn-ea"/>
            </a:endParaRPr>
          </a:p>
        </p:txBody>
      </p:sp>
      <p:sp>
        <p:nvSpPr>
          <p:cNvPr id="25" name="Rectangle 35"/>
          <p:cNvSpPr>
            <a:spLocks noChangeArrowheads="1"/>
          </p:cNvSpPr>
          <p:nvPr/>
        </p:nvSpPr>
        <p:spPr bwMode="auto">
          <a:xfrm>
            <a:off x="6361509" y="1464772"/>
            <a:ext cx="727472" cy="410766"/>
          </a:xfrm>
          <a:prstGeom prst="rect">
            <a:avLst/>
          </a:prstGeom>
          <a:solidFill>
            <a:schemeClr val="accent1">
              <a:lumMod val="40000"/>
              <a:lumOff val="60000"/>
              <a:alpha val="70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4290" rIns="0" bIns="0"/>
          <a:lstStyle/>
          <a:p>
            <a:pPr>
              <a:lnSpc>
                <a:spcPct val="80000"/>
              </a:lnSpc>
              <a:defRPr/>
            </a:pPr>
            <a:r>
              <a:rPr lang="en-US" sz="900" b="1">
                <a:solidFill>
                  <a:srgbClr val="1C7DDB"/>
                </a:solidFill>
                <a:ea typeface="+mn-ea"/>
              </a:rPr>
              <a:t>TAR</a:t>
            </a:r>
          </a:p>
          <a:p>
            <a:pPr>
              <a:lnSpc>
                <a:spcPct val="80000"/>
              </a:lnSpc>
              <a:defRPr/>
            </a:pPr>
            <a:r>
              <a:rPr lang="en-US" sz="900" b="1">
                <a:solidFill>
                  <a:srgbClr val="1C7DDB"/>
                </a:solidFill>
                <a:ea typeface="+mn-ea"/>
              </a:rPr>
              <a:t>(Beta test)</a:t>
            </a:r>
          </a:p>
        </p:txBody>
      </p:sp>
      <p:sp>
        <p:nvSpPr>
          <p:cNvPr id="26" name="Rectangle 38"/>
          <p:cNvSpPr>
            <a:spLocks noChangeArrowheads="1"/>
          </p:cNvSpPr>
          <p:nvPr/>
        </p:nvSpPr>
        <p:spPr bwMode="auto">
          <a:xfrm>
            <a:off x="1317203" y="2036272"/>
            <a:ext cx="479822" cy="410766"/>
          </a:xfrm>
          <a:prstGeom prst="rect">
            <a:avLst/>
          </a:prstGeom>
          <a:solidFill>
            <a:schemeClr val="accent1">
              <a:lumMod val="40000"/>
              <a:lumOff val="60000"/>
              <a:alpha val="70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4290" rIns="0" bIns="0"/>
          <a:lstStyle/>
          <a:p>
            <a:pPr>
              <a:lnSpc>
                <a:spcPct val="80000"/>
              </a:lnSpc>
              <a:defRPr/>
            </a:pPr>
            <a:r>
              <a:rPr lang="en-US" sz="900" b="1">
                <a:solidFill>
                  <a:srgbClr val="1C7DDB"/>
                </a:solidFill>
                <a:ea typeface="+mn-ea"/>
              </a:rPr>
              <a:t>SPS</a:t>
            </a:r>
          </a:p>
        </p:txBody>
      </p:sp>
      <p:sp>
        <p:nvSpPr>
          <p:cNvPr id="27" name="Rectangle 41"/>
          <p:cNvSpPr>
            <a:spLocks noChangeArrowheads="1"/>
          </p:cNvSpPr>
          <p:nvPr/>
        </p:nvSpPr>
        <p:spPr bwMode="auto">
          <a:xfrm>
            <a:off x="1974428" y="2036272"/>
            <a:ext cx="479822" cy="410766"/>
          </a:xfrm>
          <a:prstGeom prst="rect">
            <a:avLst/>
          </a:prstGeom>
          <a:solidFill>
            <a:schemeClr val="accent1">
              <a:lumMod val="40000"/>
              <a:lumOff val="60000"/>
              <a:alpha val="70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4290" rIns="0" bIns="0"/>
          <a:lstStyle/>
          <a:p>
            <a:pPr>
              <a:lnSpc>
                <a:spcPct val="80000"/>
              </a:lnSpc>
              <a:defRPr/>
            </a:pPr>
            <a:r>
              <a:rPr lang="en-US" sz="900" b="1" dirty="0">
                <a:solidFill>
                  <a:srgbClr val="1C7DDB"/>
                </a:solidFill>
                <a:ea typeface="+mn-ea"/>
              </a:rPr>
              <a:t>SDS</a:t>
            </a:r>
          </a:p>
        </p:txBody>
      </p:sp>
      <p:sp>
        <p:nvSpPr>
          <p:cNvPr id="28" name="Rectangle 46"/>
          <p:cNvSpPr>
            <a:spLocks noChangeArrowheads="1"/>
          </p:cNvSpPr>
          <p:nvPr/>
        </p:nvSpPr>
        <p:spPr bwMode="auto">
          <a:xfrm>
            <a:off x="1974428" y="2607772"/>
            <a:ext cx="479822" cy="410766"/>
          </a:xfrm>
          <a:prstGeom prst="rect">
            <a:avLst/>
          </a:prstGeom>
          <a:solidFill>
            <a:schemeClr val="accent1">
              <a:lumMod val="40000"/>
              <a:lumOff val="60000"/>
              <a:alpha val="70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4290" rIns="0" bIns="0"/>
          <a:lstStyle/>
          <a:p>
            <a:pPr>
              <a:lnSpc>
                <a:spcPct val="80000"/>
              </a:lnSpc>
              <a:defRPr/>
            </a:pPr>
            <a:r>
              <a:rPr lang="en-US" sz="900" b="1" dirty="0">
                <a:solidFill>
                  <a:srgbClr val="1C7DDB"/>
                </a:solidFill>
                <a:ea typeface="+mn-ea"/>
              </a:rPr>
              <a:t>EPS TPS</a:t>
            </a:r>
          </a:p>
        </p:txBody>
      </p:sp>
      <p:cxnSp>
        <p:nvCxnSpPr>
          <p:cNvPr id="29" name="AutoShape 48"/>
          <p:cNvCxnSpPr>
            <a:cxnSpLocks noChangeShapeType="1"/>
            <a:endCxn id="28" idx="0"/>
          </p:cNvCxnSpPr>
          <p:nvPr/>
        </p:nvCxnSpPr>
        <p:spPr bwMode="auto">
          <a:xfrm>
            <a:off x="2214934" y="2447038"/>
            <a:ext cx="0" cy="160734"/>
          </a:xfrm>
          <a:prstGeom prst="straightConnector1">
            <a:avLst/>
          </a:prstGeom>
          <a:noFill/>
          <a:ln w="6350">
            <a:solidFill>
              <a:schemeClr val="accent1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AutoShape 49"/>
          <p:cNvCxnSpPr>
            <a:cxnSpLocks noChangeShapeType="1"/>
            <a:stCxn id="28" idx="3"/>
            <a:endCxn id="19" idx="1"/>
          </p:cNvCxnSpPr>
          <p:nvPr/>
        </p:nvCxnSpPr>
        <p:spPr bwMode="auto">
          <a:xfrm>
            <a:off x="2454250" y="2813155"/>
            <a:ext cx="153591" cy="0"/>
          </a:xfrm>
          <a:prstGeom prst="straightConnector1">
            <a:avLst/>
          </a:prstGeom>
          <a:noFill/>
          <a:ln w="6350">
            <a:solidFill>
              <a:schemeClr val="accent1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1" name="Rectangle 51"/>
          <p:cNvSpPr>
            <a:spLocks noChangeArrowheads="1"/>
          </p:cNvSpPr>
          <p:nvPr/>
        </p:nvSpPr>
        <p:spPr bwMode="auto">
          <a:xfrm>
            <a:off x="1193378" y="1464772"/>
            <a:ext cx="727472" cy="410766"/>
          </a:xfrm>
          <a:prstGeom prst="rect">
            <a:avLst/>
          </a:prstGeom>
          <a:solidFill>
            <a:schemeClr val="accent1">
              <a:lumMod val="40000"/>
              <a:lumOff val="60000"/>
              <a:alpha val="70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34290" rIns="0" bIns="0"/>
          <a:lstStyle/>
          <a:p>
            <a:pPr>
              <a:lnSpc>
                <a:spcPct val="80000"/>
              </a:lnSpc>
              <a:defRPr/>
            </a:pPr>
            <a:r>
              <a:rPr lang="en-US" sz="900" b="1">
                <a:solidFill>
                  <a:srgbClr val="1C7DDB"/>
                </a:solidFill>
                <a:ea typeface="+mn-ea"/>
              </a:rPr>
              <a:t>PRS</a:t>
            </a:r>
          </a:p>
        </p:txBody>
      </p:sp>
      <p:cxnSp>
        <p:nvCxnSpPr>
          <p:cNvPr id="32" name="AutoShape 53"/>
          <p:cNvCxnSpPr>
            <a:cxnSpLocks noChangeShapeType="1"/>
          </p:cNvCxnSpPr>
          <p:nvPr>
            <p:custDataLst>
              <p:tags r:id="rId2"/>
            </p:custDataLst>
          </p:nvPr>
        </p:nvCxnSpPr>
        <p:spPr bwMode="auto">
          <a:xfrm rot="5400000">
            <a:off x="6423422" y="1733854"/>
            <a:ext cx="160734" cy="444103"/>
          </a:xfrm>
          <a:prstGeom prst="bentConnector3">
            <a:avLst>
              <a:gd name="adj1" fmla="val 49630"/>
            </a:avLst>
          </a:prstGeom>
          <a:noFill/>
          <a:ln w="6350">
            <a:solidFill>
              <a:schemeClr val="accent1"/>
            </a:solidFill>
            <a:miter lim="800000"/>
            <a:headEnd type="triangle" w="med" len="med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3" name="Rectangle 55"/>
          <p:cNvSpPr>
            <a:spLocks noChangeArrowheads="1"/>
          </p:cNvSpPr>
          <p:nvPr/>
        </p:nvSpPr>
        <p:spPr bwMode="auto">
          <a:xfrm>
            <a:off x="4737497" y="3189989"/>
            <a:ext cx="479822" cy="410765"/>
          </a:xfrm>
          <a:prstGeom prst="rect">
            <a:avLst/>
          </a:prstGeom>
          <a:solidFill>
            <a:schemeClr val="accent1">
              <a:lumMod val="40000"/>
              <a:lumOff val="60000"/>
              <a:alpha val="70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4290" rIns="0" bIns="0"/>
          <a:lstStyle/>
          <a:p>
            <a:pPr>
              <a:lnSpc>
                <a:spcPct val="80000"/>
              </a:lnSpc>
              <a:defRPr/>
            </a:pPr>
            <a:r>
              <a:rPr lang="en-US" sz="900" b="1">
                <a:solidFill>
                  <a:srgbClr val="1C7DDB"/>
                </a:solidFill>
                <a:ea typeface="+mn-ea"/>
              </a:rPr>
              <a:t>TAR</a:t>
            </a:r>
          </a:p>
        </p:txBody>
      </p:sp>
      <p:sp>
        <p:nvSpPr>
          <p:cNvPr id="34" name="Rectangle 58"/>
          <p:cNvSpPr>
            <a:spLocks noChangeArrowheads="1"/>
          </p:cNvSpPr>
          <p:nvPr/>
        </p:nvSpPr>
        <p:spPr bwMode="auto">
          <a:xfrm>
            <a:off x="4692253" y="3751330"/>
            <a:ext cx="569119" cy="41076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 algn="ctr">
            <a:solidFill>
              <a:srgbClr val="669900"/>
            </a:solidFill>
            <a:miter lim="800000"/>
            <a:headEnd/>
            <a:tailEnd/>
          </a:ln>
          <a:effectLst/>
        </p:spPr>
        <p:txBody>
          <a:bodyPr lIns="34290" rIns="0" bIns="0"/>
          <a:lstStyle/>
          <a:p>
            <a:pPr>
              <a:lnSpc>
                <a:spcPct val="80000"/>
              </a:lnSpc>
              <a:defRPr/>
            </a:pPr>
            <a:r>
              <a:rPr lang="en-US" sz="900" b="1">
                <a:solidFill>
                  <a:srgbClr val="1C7DDB"/>
                </a:solidFill>
                <a:ea typeface="+mn-ea"/>
              </a:rPr>
              <a:t>Integrate </a:t>
            </a:r>
          </a:p>
          <a:p>
            <a:pPr>
              <a:lnSpc>
                <a:spcPct val="80000"/>
              </a:lnSpc>
              <a:defRPr/>
            </a:pPr>
            <a:r>
              <a:rPr lang="en-US" sz="900" b="1">
                <a:solidFill>
                  <a:srgbClr val="1C7DDB"/>
                </a:solidFill>
                <a:ea typeface="+mn-ea"/>
              </a:rPr>
              <a:t>module</a:t>
            </a:r>
          </a:p>
        </p:txBody>
      </p:sp>
      <p:sp>
        <p:nvSpPr>
          <p:cNvPr id="35" name="Rectangle 61"/>
          <p:cNvSpPr>
            <a:spLocks noChangeArrowheads="1"/>
          </p:cNvSpPr>
          <p:nvPr/>
        </p:nvSpPr>
        <p:spPr bwMode="auto">
          <a:xfrm>
            <a:off x="5380397" y="3189989"/>
            <a:ext cx="569119" cy="41076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 algn="ctr">
            <a:solidFill>
              <a:srgbClr val="669900"/>
            </a:solidFill>
            <a:miter lim="800000"/>
            <a:headEnd/>
            <a:tailEnd/>
          </a:ln>
          <a:effectLst/>
        </p:spPr>
        <p:txBody>
          <a:bodyPr lIns="34290" rIns="0" bIns="0"/>
          <a:lstStyle/>
          <a:p>
            <a:pPr>
              <a:lnSpc>
                <a:spcPct val="80000"/>
              </a:lnSpc>
              <a:defRPr/>
            </a:pPr>
            <a:r>
              <a:rPr lang="en-US" sz="900" b="1">
                <a:solidFill>
                  <a:srgbClr val="1C7DDB"/>
                </a:solidFill>
                <a:ea typeface="+mn-ea"/>
              </a:rPr>
              <a:t>Integrate </a:t>
            </a:r>
          </a:p>
          <a:p>
            <a:pPr>
              <a:lnSpc>
                <a:spcPct val="80000"/>
              </a:lnSpc>
              <a:defRPr/>
            </a:pPr>
            <a:r>
              <a:rPr lang="en-US" sz="900" b="1">
                <a:solidFill>
                  <a:srgbClr val="1C7DDB"/>
                </a:solidFill>
                <a:ea typeface="+mn-ea"/>
              </a:rPr>
              <a:t>in subsys</a:t>
            </a:r>
          </a:p>
        </p:txBody>
      </p:sp>
      <p:sp>
        <p:nvSpPr>
          <p:cNvPr id="36" name="Rectangle 64"/>
          <p:cNvSpPr>
            <a:spLocks noChangeArrowheads="1"/>
          </p:cNvSpPr>
          <p:nvPr/>
        </p:nvSpPr>
        <p:spPr bwMode="auto">
          <a:xfrm>
            <a:off x="5424450" y="2607772"/>
            <a:ext cx="479822" cy="410766"/>
          </a:xfrm>
          <a:prstGeom prst="rect">
            <a:avLst/>
          </a:prstGeom>
          <a:solidFill>
            <a:schemeClr val="accent1">
              <a:lumMod val="40000"/>
              <a:lumOff val="60000"/>
              <a:alpha val="70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4290" rIns="0" bIns="0"/>
          <a:lstStyle/>
          <a:p>
            <a:pPr>
              <a:lnSpc>
                <a:spcPct val="80000"/>
              </a:lnSpc>
              <a:defRPr/>
            </a:pPr>
            <a:r>
              <a:rPr lang="en-US" sz="900" b="1">
                <a:solidFill>
                  <a:srgbClr val="1C7DDB"/>
                </a:solidFill>
                <a:ea typeface="+mn-ea"/>
              </a:rPr>
              <a:t>TAR</a:t>
            </a:r>
          </a:p>
        </p:txBody>
      </p:sp>
      <p:sp>
        <p:nvSpPr>
          <p:cNvPr id="37" name="Rectangle 67"/>
          <p:cNvSpPr>
            <a:spLocks noChangeArrowheads="1"/>
          </p:cNvSpPr>
          <p:nvPr/>
        </p:nvSpPr>
        <p:spPr bwMode="auto">
          <a:xfrm>
            <a:off x="6053100" y="2607772"/>
            <a:ext cx="569119" cy="41076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 algn="ctr">
            <a:solidFill>
              <a:srgbClr val="669900"/>
            </a:solidFill>
            <a:miter lim="800000"/>
            <a:headEnd/>
            <a:tailEnd/>
          </a:ln>
          <a:effectLst/>
        </p:spPr>
        <p:txBody>
          <a:bodyPr lIns="34290" rIns="0" bIns="0"/>
          <a:lstStyle/>
          <a:p>
            <a:pPr>
              <a:lnSpc>
                <a:spcPct val="80000"/>
              </a:lnSpc>
              <a:defRPr/>
            </a:pPr>
            <a:r>
              <a:rPr lang="en-US" sz="900" b="1">
                <a:solidFill>
                  <a:srgbClr val="1C7DDB"/>
                </a:solidFill>
                <a:ea typeface="+mn-ea"/>
              </a:rPr>
              <a:t>Integrate </a:t>
            </a:r>
          </a:p>
          <a:p>
            <a:pPr>
              <a:lnSpc>
                <a:spcPct val="80000"/>
              </a:lnSpc>
              <a:defRPr/>
            </a:pPr>
            <a:r>
              <a:rPr lang="en-US" sz="900" b="1">
                <a:solidFill>
                  <a:srgbClr val="1C7DDB"/>
                </a:solidFill>
                <a:ea typeface="+mn-ea"/>
              </a:rPr>
              <a:t>in proto</a:t>
            </a:r>
          </a:p>
        </p:txBody>
      </p:sp>
      <p:cxnSp>
        <p:nvCxnSpPr>
          <p:cNvPr id="38" name="AutoShape 72"/>
          <p:cNvCxnSpPr>
            <a:cxnSpLocks noChangeShapeType="1"/>
          </p:cNvCxnSpPr>
          <p:nvPr/>
        </p:nvCxnSpPr>
        <p:spPr bwMode="auto">
          <a:xfrm>
            <a:off x="5905089" y="2813751"/>
            <a:ext cx="148829" cy="0"/>
          </a:xfrm>
          <a:prstGeom prst="straightConnector1">
            <a:avLst/>
          </a:prstGeom>
          <a:noFill/>
          <a:ln w="6350">
            <a:solidFill>
              <a:schemeClr val="accent1"/>
            </a:solidFill>
            <a:round/>
            <a:headEnd type="triangle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9" name="AutoShape 74"/>
          <p:cNvCxnSpPr>
            <a:cxnSpLocks noChangeShapeType="1"/>
            <a:endCxn id="35" idx="0"/>
          </p:cNvCxnSpPr>
          <p:nvPr>
            <p:custDataLst>
              <p:tags r:id="rId3"/>
            </p:custDataLst>
          </p:nvPr>
        </p:nvCxnSpPr>
        <p:spPr bwMode="auto">
          <a:xfrm>
            <a:off x="5664956" y="3018538"/>
            <a:ext cx="0" cy="171450"/>
          </a:xfrm>
          <a:prstGeom prst="straightConnector1">
            <a:avLst/>
          </a:prstGeom>
          <a:noFill/>
          <a:ln w="6350">
            <a:solidFill>
              <a:schemeClr val="accent1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0" name="AutoShape 75"/>
          <p:cNvCxnSpPr>
            <a:cxnSpLocks noChangeShapeType="1"/>
            <a:stCxn id="33" idx="3"/>
            <a:endCxn id="35" idx="1"/>
          </p:cNvCxnSpPr>
          <p:nvPr/>
        </p:nvCxnSpPr>
        <p:spPr bwMode="auto">
          <a:xfrm>
            <a:off x="5217319" y="3395371"/>
            <a:ext cx="163078" cy="0"/>
          </a:xfrm>
          <a:prstGeom prst="straightConnector1">
            <a:avLst/>
          </a:prstGeom>
          <a:noFill/>
          <a:ln w="6350">
            <a:solidFill>
              <a:schemeClr val="accent1"/>
            </a:solidFill>
            <a:round/>
            <a:headEnd type="triangle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1" name="AutoShape 76"/>
          <p:cNvCxnSpPr>
            <a:cxnSpLocks noChangeShapeType="1"/>
            <a:stCxn id="33" idx="2"/>
            <a:endCxn id="34" idx="0"/>
          </p:cNvCxnSpPr>
          <p:nvPr>
            <p:custDataLst>
              <p:tags r:id="rId4"/>
            </p:custDataLst>
          </p:nvPr>
        </p:nvCxnSpPr>
        <p:spPr bwMode="auto">
          <a:xfrm rot="5400000">
            <a:off x="4901822" y="3675743"/>
            <a:ext cx="150577" cy="596"/>
          </a:xfrm>
          <a:prstGeom prst="bentConnector3">
            <a:avLst>
              <a:gd name="adj1" fmla="val 50000"/>
            </a:avLst>
          </a:prstGeom>
          <a:noFill/>
          <a:ln w="6350">
            <a:solidFill>
              <a:schemeClr val="accent1"/>
            </a:solidFill>
            <a:miter lim="800000"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2" name="AutoShape 77"/>
          <p:cNvCxnSpPr>
            <a:cxnSpLocks noChangeShapeType="1"/>
          </p:cNvCxnSpPr>
          <p:nvPr/>
        </p:nvCxnSpPr>
        <p:spPr bwMode="auto">
          <a:xfrm>
            <a:off x="4543425" y="3968657"/>
            <a:ext cx="148828" cy="0"/>
          </a:xfrm>
          <a:prstGeom prst="straightConnector1">
            <a:avLst/>
          </a:prstGeom>
          <a:noFill/>
          <a:ln w="6350">
            <a:solidFill>
              <a:schemeClr val="accent1"/>
            </a:solidFill>
            <a:round/>
            <a:headEnd type="triangle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3" name="Rectangle 8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409700" y="910026"/>
            <a:ext cx="6591300" cy="2118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>
              <a:lnSpc>
                <a:spcPct val="90000"/>
              </a:lnSpc>
              <a:spcBef>
                <a:spcPct val="10000"/>
              </a:spcBef>
              <a:spcAft>
                <a:spcPct val="10000"/>
              </a:spcAft>
              <a:defRPr/>
            </a:pPr>
            <a:r>
              <a:rPr lang="en-GB" sz="1500" b="1" dirty="0">
                <a:solidFill>
                  <a:srgbClr val="FF0000"/>
                </a:solidFill>
                <a:ea typeface="+mn-ea"/>
                <a:cs typeface="Arial" charset="0"/>
              </a:rPr>
              <a:t>SPECIFY</a:t>
            </a:r>
            <a:r>
              <a:rPr lang="en-GB" sz="1500" b="1" dirty="0">
                <a:solidFill>
                  <a:srgbClr val="0F238C"/>
                </a:solidFill>
                <a:ea typeface="+mn-ea"/>
                <a:cs typeface="Arial" charset="0"/>
              </a:rPr>
              <a:t> from </a:t>
            </a:r>
            <a:r>
              <a:rPr lang="en-GB" sz="1500" b="1" i="1" dirty="0">
                <a:solidFill>
                  <a:srgbClr val="0F238C"/>
                </a:solidFill>
                <a:ea typeface="+mn-ea"/>
                <a:cs typeface="Arial" charset="0"/>
              </a:rPr>
              <a:t>SYSTEM </a:t>
            </a:r>
            <a:r>
              <a:rPr lang="en-GB" sz="1500" b="1" dirty="0">
                <a:solidFill>
                  <a:srgbClr val="0F238C"/>
                </a:solidFill>
                <a:ea typeface="+mn-ea"/>
                <a:cs typeface="Arial" charset="0"/>
              </a:rPr>
              <a:t>to </a:t>
            </a:r>
            <a:r>
              <a:rPr lang="en-GB" sz="1500" b="1" i="1" dirty="0">
                <a:solidFill>
                  <a:srgbClr val="0F238C"/>
                </a:solidFill>
                <a:ea typeface="+mn-ea"/>
                <a:cs typeface="Arial" charset="0"/>
              </a:rPr>
              <a:t>PART</a:t>
            </a:r>
            <a:r>
              <a:rPr lang="en-GB" sz="1500" b="1" dirty="0">
                <a:solidFill>
                  <a:srgbClr val="0F238C"/>
                </a:solidFill>
                <a:ea typeface="+mn-ea"/>
                <a:cs typeface="Arial" charset="0"/>
              </a:rPr>
              <a:t>     </a:t>
            </a:r>
            <a:r>
              <a:rPr lang="en-GB" sz="1500" b="1" dirty="0">
                <a:solidFill>
                  <a:srgbClr val="FF0000"/>
                </a:solidFill>
                <a:ea typeface="+mn-ea"/>
                <a:cs typeface="Arial" charset="0"/>
              </a:rPr>
              <a:t> QUALIFY </a:t>
            </a:r>
            <a:r>
              <a:rPr lang="en-GB" sz="1500" b="1" dirty="0">
                <a:solidFill>
                  <a:srgbClr val="0F238C"/>
                </a:solidFill>
                <a:ea typeface="+mn-ea"/>
                <a:cs typeface="Arial" charset="0"/>
              </a:rPr>
              <a:t>from </a:t>
            </a:r>
            <a:r>
              <a:rPr lang="en-GB" sz="1500" b="1" i="1" dirty="0">
                <a:solidFill>
                  <a:srgbClr val="0F238C"/>
                </a:solidFill>
                <a:ea typeface="+mn-ea"/>
                <a:cs typeface="Arial" charset="0"/>
              </a:rPr>
              <a:t>PART </a:t>
            </a:r>
            <a:r>
              <a:rPr lang="en-GB" sz="1500" b="1" dirty="0">
                <a:solidFill>
                  <a:srgbClr val="0F238C"/>
                </a:solidFill>
                <a:ea typeface="+mn-ea"/>
                <a:cs typeface="Arial" charset="0"/>
              </a:rPr>
              <a:t>to </a:t>
            </a:r>
            <a:r>
              <a:rPr lang="en-GB" sz="1500" b="1" i="1" dirty="0">
                <a:solidFill>
                  <a:srgbClr val="0F238C"/>
                </a:solidFill>
                <a:ea typeface="+mn-ea"/>
                <a:cs typeface="Arial" charset="0"/>
              </a:rPr>
              <a:t>SYSTEM</a:t>
            </a:r>
            <a:endParaRPr lang="en-GB" sz="1500" dirty="0">
              <a:solidFill>
                <a:srgbClr val="1C7DDB"/>
              </a:solidFill>
              <a:ea typeface="+mn-ea"/>
              <a:cs typeface="Arial" charset="0"/>
            </a:endParaRPr>
          </a:p>
        </p:txBody>
      </p:sp>
      <p:cxnSp>
        <p:nvCxnSpPr>
          <p:cNvPr id="44" name="AutoShape 85"/>
          <p:cNvCxnSpPr>
            <a:cxnSpLocks noChangeShapeType="1"/>
            <a:stCxn id="26" idx="3"/>
            <a:endCxn id="27" idx="1"/>
          </p:cNvCxnSpPr>
          <p:nvPr/>
        </p:nvCxnSpPr>
        <p:spPr bwMode="auto">
          <a:xfrm>
            <a:off x="1797024" y="2241655"/>
            <a:ext cx="177404" cy="0"/>
          </a:xfrm>
          <a:prstGeom prst="straightConnector1">
            <a:avLst/>
          </a:prstGeom>
          <a:noFill/>
          <a:ln w="9525">
            <a:solidFill>
              <a:schemeClr val="accent1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5" name="AutoShape 86"/>
          <p:cNvCxnSpPr>
            <a:cxnSpLocks noChangeShapeType="1"/>
          </p:cNvCxnSpPr>
          <p:nvPr/>
        </p:nvCxnSpPr>
        <p:spPr bwMode="auto">
          <a:xfrm rot="5400000">
            <a:off x="1538883" y="1955905"/>
            <a:ext cx="160734" cy="0"/>
          </a:xfrm>
          <a:prstGeom prst="straightConnector1">
            <a:avLst/>
          </a:prstGeom>
          <a:noFill/>
          <a:ln w="9525">
            <a:solidFill>
              <a:schemeClr val="accent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6" name="Straight Connector 45"/>
          <p:cNvCxnSpPr/>
          <p:nvPr/>
        </p:nvCxnSpPr>
        <p:spPr>
          <a:xfrm>
            <a:off x="902494" y="3112597"/>
            <a:ext cx="6115050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Content Placeholder 2"/>
          <p:cNvSpPr txBox="1">
            <a:spLocks/>
          </p:cNvSpPr>
          <p:nvPr/>
        </p:nvSpPr>
        <p:spPr bwMode="auto">
          <a:xfrm>
            <a:off x="614363" y="3263807"/>
            <a:ext cx="586978" cy="2643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90513" indent="-290513" algn="l" rtl="0" eaLnBrk="0" fontAlgn="base" hangingPunct="0">
              <a:spcBef>
                <a:spcPct val="10000"/>
              </a:spcBef>
              <a:spcAft>
                <a:spcPct val="20000"/>
              </a:spcAft>
              <a:buClr>
                <a:schemeClr val="accent1"/>
              </a:buClr>
              <a:buSzPct val="110000"/>
              <a:buFont typeface="Arial" charset="0"/>
              <a:buChar char="•"/>
              <a:defRPr sz="23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855663" indent="-288925" algn="l" rtl="0" eaLnBrk="0" fontAlgn="base" hangingPunct="0">
              <a:spcBef>
                <a:spcPct val="10000"/>
              </a:spcBef>
              <a:spcAft>
                <a:spcPct val="20000"/>
              </a:spcAft>
              <a:buClr>
                <a:schemeClr val="accent1"/>
              </a:buClr>
              <a:buSzPct val="110000"/>
              <a:buFont typeface="Arial" charset="0"/>
              <a:buChar char="•"/>
              <a:defRPr sz="2100">
                <a:solidFill>
                  <a:schemeClr val="accent1"/>
                </a:solidFill>
                <a:latin typeface="+mn-lt"/>
              </a:defRPr>
            </a:lvl2pPr>
            <a:lvl3pPr marL="1422400" indent="-276225" algn="l" rtl="0" eaLnBrk="0" fontAlgn="base" hangingPunct="0">
              <a:spcBef>
                <a:spcPct val="10000"/>
              </a:spcBef>
              <a:spcAft>
                <a:spcPct val="20000"/>
              </a:spcAft>
              <a:buClr>
                <a:schemeClr val="accent1"/>
              </a:buClr>
              <a:buSzPct val="110000"/>
              <a:buFont typeface="Arial" charset="0"/>
              <a:buChar char="•"/>
              <a:defRPr>
                <a:solidFill>
                  <a:schemeClr val="accent1"/>
                </a:solidFill>
                <a:latin typeface="+mn-lt"/>
              </a:defRPr>
            </a:lvl3pPr>
            <a:lvl4pPr marL="2003425" indent="-290513" algn="l" rtl="0" eaLnBrk="0" fontAlgn="base" hangingPunct="0">
              <a:spcBef>
                <a:spcPct val="10000"/>
              </a:spcBef>
              <a:spcAft>
                <a:spcPct val="20000"/>
              </a:spcAft>
              <a:buClr>
                <a:schemeClr val="accent1"/>
              </a:buClr>
              <a:buSzPct val="110000"/>
              <a:buFont typeface="Arial" charset="0"/>
              <a:buChar char="•"/>
              <a:defRPr sz="1600">
                <a:solidFill>
                  <a:schemeClr val="accent1"/>
                </a:solidFill>
                <a:latin typeface="+mn-lt"/>
              </a:defRPr>
            </a:lvl4pPr>
            <a:lvl5pPr marL="2740025" indent="231775"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45000"/>
              <a:buFont typeface="CommonBullets" pitchFamily="34" charset="2"/>
              <a:buChar char="l"/>
              <a:defRPr sz="1600">
                <a:solidFill>
                  <a:schemeClr val="accent1"/>
                </a:solidFill>
                <a:latin typeface="+mn-lt"/>
              </a:defRPr>
            </a:lvl5pPr>
            <a:lvl6pPr marL="3197225" indent="231775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45000"/>
              <a:buFont typeface="CommonBullets" pitchFamily="34" charset="2"/>
              <a:buChar char="l"/>
              <a:defRPr sz="1600">
                <a:solidFill>
                  <a:schemeClr val="accent1"/>
                </a:solidFill>
                <a:latin typeface="+mn-lt"/>
              </a:defRPr>
            </a:lvl6pPr>
            <a:lvl7pPr marL="3654425" indent="231775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45000"/>
              <a:buFont typeface="CommonBullets" pitchFamily="34" charset="2"/>
              <a:buChar char="l"/>
              <a:defRPr sz="1600">
                <a:solidFill>
                  <a:schemeClr val="accent1"/>
                </a:solidFill>
                <a:latin typeface="+mn-lt"/>
              </a:defRPr>
            </a:lvl7pPr>
            <a:lvl8pPr marL="4111625" indent="231775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45000"/>
              <a:buFont typeface="CommonBullets" pitchFamily="34" charset="2"/>
              <a:buChar char="l"/>
              <a:defRPr sz="1600">
                <a:solidFill>
                  <a:schemeClr val="accent1"/>
                </a:solidFill>
                <a:latin typeface="+mn-lt"/>
              </a:defRPr>
            </a:lvl8pPr>
            <a:lvl9pPr marL="4568825" indent="231775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45000"/>
              <a:buFont typeface="CommonBullets" pitchFamily="34" charset="2"/>
              <a:buChar char="l"/>
              <a:defRPr sz="1600">
                <a:solidFill>
                  <a:schemeClr val="accent1"/>
                </a:solidFill>
                <a:latin typeface="+mn-lt"/>
              </a:defRPr>
            </a:lvl9pPr>
          </a:lstStyle>
          <a:p>
            <a:pPr marL="0" indent="0" algn="ctr">
              <a:lnSpc>
                <a:spcPct val="95000"/>
              </a:lnSpc>
              <a:buClr>
                <a:srgbClr val="1C7DDB"/>
              </a:buClr>
              <a:buNone/>
              <a:defRPr/>
            </a:pPr>
            <a:r>
              <a:rPr lang="en-US" sz="1200" dirty="0">
                <a:solidFill>
                  <a:srgbClr val="FF0000"/>
                </a:solidFill>
              </a:rPr>
              <a:t>Module</a:t>
            </a:r>
          </a:p>
          <a:p>
            <a:pPr algn="ctr">
              <a:lnSpc>
                <a:spcPct val="95000"/>
              </a:lnSpc>
              <a:buClr>
                <a:srgbClr val="1C7DDB"/>
              </a:buClr>
              <a:defRPr/>
            </a:pPr>
            <a:endParaRPr lang="en-US" sz="1200" dirty="0">
              <a:solidFill>
                <a:srgbClr val="FF0000"/>
              </a:solidFill>
            </a:endParaRPr>
          </a:p>
        </p:txBody>
      </p:sp>
      <p:sp>
        <p:nvSpPr>
          <p:cNvPr id="48" name="Content Placeholder 2"/>
          <p:cNvSpPr txBox="1">
            <a:spLocks/>
          </p:cNvSpPr>
          <p:nvPr/>
        </p:nvSpPr>
        <p:spPr bwMode="auto">
          <a:xfrm>
            <a:off x="609600" y="2619678"/>
            <a:ext cx="648890" cy="414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90513" indent="-290513" algn="l" rtl="0" eaLnBrk="0" fontAlgn="base" hangingPunct="0">
              <a:spcBef>
                <a:spcPct val="10000"/>
              </a:spcBef>
              <a:spcAft>
                <a:spcPct val="20000"/>
              </a:spcAft>
              <a:buClr>
                <a:schemeClr val="accent1"/>
              </a:buClr>
              <a:buSzPct val="110000"/>
              <a:buFont typeface="Arial" charset="0"/>
              <a:buChar char="•"/>
              <a:defRPr sz="23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855663" indent="-288925" algn="l" rtl="0" eaLnBrk="0" fontAlgn="base" hangingPunct="0">
              <a:spcBef>
                <a:spcPct val="10000"/>
              </a:spcBef>
              <a:spcAft>
                <a:spcPct val="20000"/>
              </a:spcAft>
              <a:buClr>
                <a:schemeClr val="accent1"/>
              </a:buClr>
              <a:buSzPct val="110000"/>
              <a:buFont typeface="Arial" charset="0"/>
              <a:buChar char="•"/>
              <a:defRPr sz="2100">
                <a:solidFill>
                  <a:schemeClr val="accent1"/>
                </a:solidFill>
                <a:latin typeface="+mn-lt"/>
              </a:defRPr>
            </a:lvl2pPr>
            <a:lvl3pPr marL="1422400" indent="-276225" algn="l" rtl="0" eaLnBrk="0" fontAlgn="base" hangingPunct="0">
              <a:spcBef>
                <a:spcPct val="10000"/>
              </a:spcBef>
              <a:spcAft>
                <a:spcPct val="20000"/>
              </a:spcAft>
              <a:buClr>
                <a:schemeClr val="accent1"/>
              </a:buClr>
              <a:buSzPct val="110000"/>
              <a:buFont typeface="Arial" charset="0"/>
              <a:buChar char="•"/>
              <a:defRPr>
                <a:solidFill>
                  <a:schemeClr val="accent1"/>
                </a:solidFill>
                <a:latin typeface="+mn-lt"/>
              </a:defRPr>
            </a:lvl3pPr>
            <a:lvl4pPr marL="2003425" indent="-290513" algn="l" rtl="0" eaLnBrk="0" fontAlgn="base" hangingPunct="0">
              <a:spcBef>
                <a:spcPct val="10000"/>
              </a:spcBef>
              <a:spcAft>
                <a:spcPct val="20000"/>
              </a:spcAft>
              <a:buClr>
                <a:schemeClr val="accent1"/>
              </a:buClr>
              <a:buSzPct val="110000"/>
              <a:buFont typeface="Arial" charset="0"/>
              <a:buChar char="•"/>
              <a:defRPr sz="1600">
                <a:solidFill>
                  <a:schemeClr val="accent1"/>
                </a:solidFill>
                <a:latin typeface="+mn-lt"/>
              </a:defRPr>
            </a:lvl4pPr>
            <a:lvl5pPr marL="2740025" indent="231775"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45000"/>
              <a:buFont typeface="CommonBullets" pitchFamily="34" charset="2"/>
              <a:buChar char="l"/>
              <a:defRPr sz="1600">
                <a:solidFill>
                  <a:schemeClr val="accent1"/>
                </a:solidFill>
                <a:latin typeface="+mn-lt"/>
              </a:defRPr>
            </a:lvl5pPr>
            <a:lvl6pPr marL="3197225" indent="231775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45000"/>
              <a:buFont typeface="CommonBullets" pitchFamily="34" charset="2"/>
              <a:buChar char="l"/>
              <a:defRPr sz="1600">
                <a:solidFill>
                  <a:schemeClr val="accent1"/>
                </a:solidFill>
                <a:latin typeface="+mn-lt"/>
              </a:defRPr>
            </a:lvl6pPr>
            <a:lvl7pPr marL="3654425" indent="231775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45000"/>
              <a:buFont typeface="CommonBullets" pitchFamily="34" charset="2"/>
              <a:buChar char="l"/>
              <a:defRPr sz="1600">
                <a:solidFill>
                  <a:schemeClr val="accent1"/>
                </a:solidFill>
                <a:latin typeface="+mn-lt"/>
              </a:defRPr>
            </a:lvl7pPr>
            <a:lvl8pPr marL="4111625" indent="231775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45000"/>
              <a:buFont typeface="CommonBullets" pitchFamily="34" charset="2"/>
              <a:buChar char="l"/>
              <a:defRPr sz="1600">
                <a:solidFill>
                  <a:schemeClr val="accent1"/>
                </a:solidFill>
                <a:latin typeface="+mn-lt"/>
              </a:defRPr>
            </a:lvl8pPr>
            <a:lvl9pPr marL="4568825" indent="231775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45000"/>
              <a:buFont typeface="CommonBullets" pitchFamily="34" charset="2"/>
              <a:buChar char="l"/>
              <a:defRPr sz="1600">
                <a:solidFill>
                  <a:schemeClr val="accent1"/>
                </a:solidFill>
                <a:latin typeface="+mn-lt"/>
              </a:defRPr>
            </a:lvl9pPr>
          </a:lstStyle>
          <a:p>
            <a:pPr marL="0" indent="0" algn="ctr">
              <a:lnSpc>
                <a:spcPct val="95000"/>
              </a:lnSpc>
              <a:buClr>
                <a:srgbClr val="1C7DDB"/>
              </a:buClr>
              <a:buNone/>
              <a:defRPr/>
            </a:pPr>
            <a:r>
              <a:rPr lang="en-US" sz="1200" dirty="0">
                <a:solidFill>
                  <a:srgbClr val="FF0000"/>
                </a:solidFill>
              </a:rPr>
              <a:t>Sub</a:t>
            </a:r>
          </a:p>
          <a:p>
            <a:pPr marL="0" indent="0" algn="ctr">
              <a:lnSpc>
                <a:spcPct val="95000"/>
              </a:lnSpc>
              <a:buClr>
                <a:srgbClr val="1C7DDB"/>
              </a:buClr>
              <a:buNone/>
              <a:defRPr/>
            </a:pPr>
            <a:r>
              <a:rPr lang="en-US" sz="1200" dirty="0">
                <a:solidFill>
                  <a:srgbClr val="FF0000"/>
                </a:solidFill>
              </a:rPr>
              <a:t>system</a:t>
            </a:r>
          </a:p>
          <a:p>
            <a:pPr algn="ctr">
              <a:lnSpc>
                <a:spcPct val="95000"/>
              </a:lnSpc>
              <a:buClr>
                <a:srgbClr val="1C7DDB"/>
              </a:buClr>
              <a:defRPr/>
            </a:pPr>
            <a:endParaRPr lang="en-US" sz="1200" dirty="0">
              <a:solidFill>
                <a:srgbClr val="FF0000"/>
              </a:solidFill>
            </a:endParaRPr>
          </a:p>
        </p:txBody>
      </p:sp>
      <p:sp>
        <p:nvSpPr>
          <p:cNvPr id="49" name="Content Placeholder 2"/>
          <p:cNvSpPr txBox="1">
            <a:spLocks/>
          </p:cNvSpPr>
          <p:nvPr/>
        </p:nvSpPr>
        <p:spPr bwMode="auto">
          <a:xfrm>
            <a:off x="619125" y="2164860"/>
            <a:ext cx="628650" cy="2405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90513" indent="-290513" algn="l" rtl="0" eaLnBrk="0" fontAlgn="base" hangingPunct="0">
              <a:spcBef>
                <a:spcPct val="10000"/>
              </a:spcBef>
              <a:spcAft>
                <a:spcPct val="20000"/>
              </a:spcAft>
              <a:buClr>
                <a:schemeClr val="accent1"/>
              </a:buClr>
              <a:buSzPct val="110000"/>
              <a:buFont typeface="Arial" charset="0"/>
              <a:buChar char="•"/>
              <a:defRPr sz="23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855663" indent="-288925" algn="l" rtl="0" eaLnBrk="0" fontAlgn="base" hangingPunct="0">
              <a:spcBef>
                <a:spcPct val="10000"/>
              </a:spcBef>
              <a:spcAft>
                <a:spcPct val="20000"/>
              </a:spcAft>
              <a:buClr>
                <a:schemeClr val="accent1"/>
              </a:buClr>
              <a:buSzPct val="110000"/>
              <a:buFont typeface="Arial" charset="0"/>
              <a:buChar char="•"/>
              <a:defRPr sz="2100">
                <a:solidFill>
                  <a:schemeClr val="accent1"/>
                </a:solidFill>
                <a:latin typeface="+mn-lt"/>
              </a:defRPr>
            </a:lvl2pPr>
            <a:lvl3pPr marL="1422400" indent="-276225" algn="l" rtl="0" eaLnBrk="0" fontAlgn="base" hangingPunct="0">
              <a:spcBef>
                <a:spcPct val="10000"/>
              </a:spcBef>
              <a:spcAft>
                <a:spcPct val="20000"/>
              </a:spcAft>
              <a:buClr>
                <a:schemeClr val="accent1"/>
              </a:buClr>
              <a:buSzPct val="110000"/>
              <a:buFont typeface="Arial" charset="0"/>
              <a:buChar char="•"/>
              <a:defRPr>
                <a:solidFill>
                  <a:schemeClr val="accent1"/>
                </a:solidFill>
                <a:latin typeface="+mn-lt"/>
              </a:defRPr>
            </a:lvl3pPr>
            <a:lvl4pPr marL="2003425" indent="-290513" algn="l" rtl="0" eaLnBrk="0" fontAlgn="base" hangingPunct="0">
              <a:spcBef>
                <a:spcPct val="10000"/>
              </a:spcBef>
              <a:spcAft>
                <a:spcPct val="20000"/>
              </a:spcAft>
              <a:buClr>
                <a:schemeClr val="accent1"/>
              </a:buClr>
              <a:buSzPct val="110000"/>
              <a:buFont typeface="Arial" charset="0"/>
              <a:buChar char="•"/>
              <a:defRPr sz="1600">
                <a:solidFill>
                  <a:schemeClr val="accent1"/>
                </a:solidFill>
                <a:latin typeface="+mn-lt"/>
              </a:defRPr>
            </a:lvl4pPr>
            <a:lvl5pPr marL="2740025" indent="231775"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45000"/>
              <a:buFont typeface="CommonBullets" pitchFamily="34" charset="2"/>
              <a:buChar char="l"/>
              <a:defRPr sz="1600">
                <a:solidFill>
                  <a:schemeClr val="accent1"/>
                </a:solidFill>
                <a:latin typeface="+mn-lt"/>
              </a:defRPr>
            </a:lvl5pPr>
            <a:lvl6pPr marL="3197225" indent="231775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45000"/>
              <a:buFont typeface="CommonBullets" pitchFamily="34" charset="2"/>
              <a:buChar char="l"/>
              <a:defRPr sz="1600">
                <a:solidFill>
                  <a:schemeClr val="accent1"/>
                </a:solidFill>
                <a:latin typeface="+mn-lt"/>
              </a:defRPr>
            </a:lvl6pPr>
            <a:lvl7pPr marL="3654425" indent="231775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45000"/>
              <a:buFont typeface="CommonBullets" pitchFamily="34" charset="2"/>
              <a:buChar char="l"/>
              <a:defRPr sz="1600">
                <a:solidFill>
                  <a:schemeClr val="accent1"/>
                </a:solidFill>
                <a:latin typeface="+mn-lt"/>
              </a:defRPr>
            </a:lvl7pPr>
            <a:lvl8pPr marL="4111625" indent="231775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45000"/>
              <a:buFont typeface="CommonBullets" pitchFamily="34" charset="2"/>
              <a:buChar char="l"/>
              <a:defRPr sz="1600">
                <a:solidFill>
                  <a:schemeClr val="accent1"/>
                </a:solidFill>
                <a:latin typeface="+mn-lt"/>
              </a:defRPr>
            </a:lvl8pPr>
            <a:lvl9pPr marL="4568825" indent="231775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45000"/>
              <a:buFont typeface="CommonBullets" pitchFamily="34" charset="2"/>
              <a:buChar char="l"/>
              <a:defRPr sz="1600">
                <a:solidFill>
                  <a:schemeClr val="accent1"/>
                </a:solidFill>
                <a:latin typeface="+mn-lt"/>
              </a:defRPr>
            </a:lvl9pPr>
          </a:lstStyle>
          <a:p>
            <a:pPr marL="0" indent="0" algn="ctr">
              <a:lnSpc>
                <a:spcPct val="95000"/>
              </a:lnSpc>
              <a:buClr>
                <a:srgbClr val="1C7DDB"/>
              </a:buClr>
              <a:buNone/>
              <a:defRPr/>
            </a:pPr>
            <a:r>
              <a:rPr lang="en-US" sz="1200" dirty="0">
                <a:solidFill>
                  <a:srgbClr val="FF0000"/>
                </a:solidFill>
              </a:rPr>
              <a:t>System</a:t>
            </a:r>
          </a:p>
          <a:p>
            <a:pPr algn="ctr">
              <a:lnSpc>
                <a:spcPct val="95000"/>
              </a:lnSpc>
              <a:buClr>
                <a:srgbClr val="1C7DDB"/>
              </a:buClr>
              <a:defRPr/>
            </a:pPr>
            <a:endParaRPr lang="en-US" sz="1200" dirty="0">
              <a:solidFill>
                <a:srgbClr val="FF0000"/>
              </a:solidFill>
            </a:endParaRPr>
          </a:p>
        </p:txBody>
      </p:sp>
      <p:sp>
        <p:nvSpPr>
          <p:cNvPr id="50" name="Right Arrow 49"/>
          <p:cNvSpPr/>
          <p:nvPr/>
        </p:nvSpPr>
        <p:spPr>
          <a:xfrm rot="2785958">
            <a:off x="1516128" y="2252126"/>
            <a:ext cx="3082529" cy="557213"/>
          </a:xfrm>
          <a:prstGeom prst="rightArrow">
            <a:avLst/>
          </a:prstGeom>
          <a:solidFill>
            <a:srgbClr val="FF0000">
              <a:alpha val="20000"/>
            </a:srgbClr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lnSpc>
                <a:spcPct val="95000"/>
              </a:lnSpc>
              <a:defRPr/>
            </a:pPr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51" name="Right Arrow 50"/>
          <p:cNvSpPr/>
          <p:nvPr/>
        </p:nvSpPr>
        <p:spPr>
          <a:xfrm rot="18767837">
            <a:off x="3804573" y="2188876"/>
            <a:ext cx="2882572" cy="565547"/>
          </a:xfrm>
          <a:prstGeom prst="rightArrow">
            <a:avLst/>
          </a:prstGeom>
          <a:solidFill>
            <a:srgbClr val="FF0000">
              <a:alpha val="20000"/>
            </a:srgbClr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lnSpc>
                <a:spcPct val="95000"/>
              </a:lnSpc>
              <a:defRPr/>
            </a:pPr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53" name="Rectangle 4"/>
          <p:cNvSpPr>
            <a:spLocks noChangeArrowheads="1"/>
          </p:cNvSpPr>
          <p:nvPr/>
        </p:nvSpPr>
        <p:spPr bwMode="auto">
          <a:xfrm>
            <a:off x="6592370" y="3580665"/>
            <a:ext cx="2519363" cy="1553766"/>
          </a:xfrm>
          <a:prstGeom prst="rect">
            <a:avLst/>
          </a:prstGeom>
          <a:solidFill>
            <a:schemeClr val="bg1"/>
          </a:solidFill>
          <a:ln w="6350" algn="ctr">
            <a:solidFill>
              <a:schemeClr val="accent1"/>
            </a:solidFill>
            <a:miter lim="800000"/>
            <a:headEnd/>
            <a:tailEnd/>
          </a:ln>
          <a:effectLst>
            <a:outerShdw dist="35921" dir="2700000" sx="99001" sy="99001" algn="ctr" rotWithShape="0">
              <a:schemeClr val="tx1">
                <a:alpha val="43999"/>
              </a:schemeClr>
            </a:outerShdw>
          </a:effectLst>
        </p:spPr>
        <p:txBody>
          <a:bodyPr wrap="none" lIns="13716" tIns="13716" rIns="0" bIns="0" anchor="ctr"/>
          <a:lstStyle/>
          <a:p>
            <a:pPr>
              <a:lnSpc>
                <a:spcPct val="90000"/>
              </a:lnSpc>
            </a:pPr>
            <a:endParaRPr lang="en-US" sz="750" b="1">
              <a:solidFill>
                <a:srgbClr val="1C7DDB"/>
              </a:solidFill>
              <a:ea typeface="+mn-ea"/>
            </a:endParaRPr>
          </a:p>
        </p:txBody>
      </p:sp>
      <p:sp>
        <p:nvSpPr>
          <p:cNvPr id="54" name="Content Placeholder 2"/>
          <p:cNvSpPr txBox="1">
            <a:spLocks/>
          </p:cNvSpPr>
          <p:nvPr/>
        </p:nvSpPr>
        <p:spPr bwMode="auto">
          <a:xfrm>
            <a:off x="828033" y="1175473"/>
            <a:ext cx="1458162" cy="199002"/>
          </a:xfrm>
          <a:prstGeom prst="rect">
            <a:avLst/>
          </a:prstGeom>
          <a:solidFill>
            <a:schemeClr val="accent5">
              <a:lumMod val="40000"/>
              <a:lumOff val="60000"/>
              <a:alpha val="50000"/>
            </a:schemeClr>
          </a:solidFill>
          <a:ln>
            <a:noFill/>
          </a:ln>
          <a:effectLst/>
          <a:extLst/>
        </p:spPr>
        <p:txBody>
          <a:bodyPr lIns="0" tIns="0" rIns="0" bIns="0"/>
          <a:lstStyle>
            <a:lvl1pPr marL="290513" indent="-290513" algn="l" rtl="0" eaLnBrk="0" fontAlgn="base" hangingPunct="0">
              <a:spcBef>
                <a:spcPct val="10000"/>
              </a:spcBef>
              <a:spcAft>
                <a:spcPct val="20000"/>
              </a:spcAft>
              <a:buClr>
                <a:schemeClr val="accent1"/>
              </a:buClr>
              <a:buSzPct val="110000"/>
              <a:buFont typeface="Arial" charset="0"/>
              <a:buChar char="•"/>
              <a:defRPr sz="23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855663" indent="-288925" algn="l" rtl="0" eaLnBrk="0" fontAlgn="base" hangingPunct="0">
              <a:spcBef>
                <a:spcPct val="10000"/>
              </a:spcBef>
              <a:spcAft>
                <a:spcPct val="20000"/>
              </a:spcAft>
              <a:buClr>
                <a:schemeClr val="accent1"/>
              </a:buClr>
              <a:buSzPct val="110000"/>
              <a:buFont typeface="Arial" charset="0"/>
              <a:buChar char="•"/>
              <a:defRPr sz="2100">
                <a:solidFill>
                  <a:schemeClr val="accent1"/>
                </a:solidFill>
                <a:latin typeface="+mn-lt"/>
              </a:defRPr>
            </a:lvl2pPr>
            <a:lvl3pPr marL="1422400" indent="-276225" algn="l" rtl="0" eaLnBrk="0" fontAlgn="base" hangingPunct="0">
              <a:spcBef>
                <a:spcPct val="10000"/>
              </a:spcBef>
              <a:spcAft>
                <a:spcPct val="20000"/>
              </a:spcAft>
              <a:buClr>
                <a:schemeClr val="accent1"/>
              </a:buClr>
              <a:buSzPct val="110000"/>
              <a:buFont typeface="Arial" charset="0"/>
              <a:buChar char="•"/>
              <a:defRPr>
                <a:solidFill>
                  <a:schemeClr val="accent1"/>
                </a:solidFill>
                <a:latin typeface="+mn-lt"/>
              </a:defRPr>
            </a:lvl3pPr>
            <a:lvl4pPr marL="2003425" indent="-290513" algn="l" rtl="0" eaLnBrk="0" fontAlgn="base" hangingPunct="0">
              <a:spcBef>
                <a:spcPct val="10000"/>
              </a:spcBef>
              <a:spcAft>
                <a:spcPct val="20000"/>
              </a:spcAft>
              <a:buClr>
                <a:schemeClr val="accent1"/>
              </a:buClr>
              <a:buSzPct val="110000"/>
              <a:buFont typeface="Arial" charset="0"/>
              <a:buChar char="•"/>
              <a:defRPr sz="1600">
                <a:solidFill>
                  <a:schemeClr val="accent1"/>
                </a:solidFill>
                <a:latin typeface="+mn-lt"/>
              </a:defRPr>
            </a:lvl4pPr>
            <a:lvl5pPr marL="2740025" indent="231775"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45000"/>
              <a:buFont typeface="CommonBullets" pitchFamily="34" charset="2"/>
              <a:buChar char="l"/>
              <a:defRPr sz="1600">
                <a:solidFill>
                  <a:schemeClr val="accent1"/>
                </a:solidFill>
                <a:latin typeface="+mn-lt"/>
              </a:defRPr>
            </a:lvl5pPr>
            <a:lvl6pPr marL="3197225" indent="231775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45000"/>
              <a:buFont typeface="CommonBullets" pitchFamily="34" charset="2"/>
              <a:buChar char="l"/>
              <a:defRPr sz="1600">
                <a:solidFill>
                  <a:schemeClr val="accent1"/>
                </a:solidFill>
                <a:latin typeface="+mn-lt"/>
              </a:defRPr>
            </a:lvl6pPr>
            <a:lvl7pPr marL="3654425" indent="231775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45000"/>
              <a:buFont typeface="CommonBullets" pitchFamily="34" charset="2"/>
              <a:buChar char="l"/>
              <a:defRPr sz="1600">
                <a:solidFill>
                  <a:schemeClr val="accent1"/>
                </a:solidFill>
                <a:latin typeface="+mn-lt"/>
              </a:defRPr>
            </a:lvl7pPr>
            <a:lvl8pPr marL="4111625" indent="231775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45000"/>
              <a:buFont typeface="CommonBullets" pitchFamily="34" charset="2"/>
              <a:buChar char="l"/>
              <a:defRPr sz="1600">
                <a:solidFill>
                  <a:schemeClr val="accent1"/>
                </a:solidFill>
                <a:latin typeface="+mn-lt"/>
              </a:defRPr>
            </a:lvl8pPr>
            <a:lvl9pPr marL="4568825" indent="231775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45000"/>
              <a:buFont typeface="CommonBullets" pitchFamily="34" charset="2"/>
              <a:buChar char="l"/>
              <a:defRPr sz="1600">
                <a:solidFill>
                  <a:schemeClr val="accent1"/>
                </a:solidFill>
                <a:latin typeface="+mn-lt"/>
              </a:defRPr>
            </a:lvl9pPr>
          </a:lstStyle>
          <a:p>
            <a:pPr marL="0" indent="0" algn="ctr">
              <a:lnSpc>
                <a:spcPct val="95000"/>
              </a:lnSpc>
              <a:buClr>
                <a:srgbClr val="1C7DDB"/>
              </a:buClr>
              <a:buNone/>
              <a:defRPr/>
            </a:pPr>
            <a:r>
              <a:rPr lang="en-US" sz="1200"/>
              <a:t>Roadmapping</a:t>
            </a:r>
            <a:endParaRPr lang="en-US" sz="1200" dirty="0"/>
          </a:p>
          <a:p>
            <a:pPr algn="ctr">
              <a:lnSpc>
                <a:spcPct val="95000"/>
              </a:lnSpc>
              <a:buClr>
                <a:srgbClr val="1C7DDB"/>
              </a:buClr>
              <a:defRPr/>
            </a:pPr>
            <a:endParaRPr lang="en-US" sz="1200" dirty="0"/>
          </a:p>
        </p:txBody>
      </p:sp>
      <p:sp>
        <p:nvSpPr>
          <p:cNvPr id="55" name="TextBox 3"/>
          <p:cNvSpPr txBox="1">
            <a:spLocks noChangeArrowheads="1"/>
          </p:cNvSpPr>
          <p:nvPr/>
        </p:nvSpPr>
        <p:spPr bwMode="auto">
          <a:xfrm>
            <a:off x="6592370" y="3580665"/>
            <a:ext cx="2656285" cy="1780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accent1"/>
                </a:solidFill>
                <a:latin typeface="Arial" charset="0"/>
              </a:defRPr>
            </a:lvl1pPr>
            <a:lvl2pPr marL="742950" indent="-285750">
              <a:defRPr sz="1600">
                <a:solidFill>
                  <a:schemeClr val="accent1"/>
                </a:solidFill>
                <a:latin typeface="Arial" charset="0"/>
              </a:defRPr>
            </a:lvl2pPr>
            <a:lvl3pPr marL="1143000" indent="-228600">
              <a:defRPr sz="1600">
                <a:solidFill>
                  <a:schemeClr val="accent1"/>
                </a:solidFill>
                <a:latin typeface="Arial" charset="0"/>
              </a:defRPr>
            </a:lvl3pPr>
            <a:lvl4pPr marL="1600200" indent="-228600">
              <a:defRPr sz="1600">
                <a:solidFill>
                  <a:schemeClr val="accent1"/>
                </a:solidFill>
                <a:latin typeface="Arial" charset="0"/>
              </a:defRPr>
            </a:lvl4pPr>
            <a:lvl5pPr marL="2057400" indent="-228600">
              <a:defRPr sz="1600">
                <a:solidFill>
                  <a:schemeClr val="accent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accent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accent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accent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accent1"/>
                </a:solidFill>
                <a:latin typeface="Arial" charset="0"/>
              </a:defRPr>
            </a:lvl9pPr>
          </a:lstStyle>
          <a:p>
            <a:pPr algn="l" eaLnBrk="1" hangingPunct="1">
              <a:lnSpc>
                <a:spcPct val="95000"/>
              </a:lnSpc>
            </a:pPr>
            <a:r>
              <a:rPr lang="en-US" sz="1200" b="1" dirty="0">
                <a:solidFill>
                  <a:srgbClr val="0F238C"/>
                </a:solidFill>
                <a:ea typeface="+mn-ea"/>
                <a:cs typeface="Arial" charset="0"/>
              </a:rPr>
              <a:t>SEG DOCUMENTS</a:t>
            </a:r>
          </a:p>
          <a:p>
            <a:pPr algn="l" eaLnBrk="1" hangingPunct="1">
              <a:lnSpc>
                <a:spcPct val="95000"/>
              </a:lnSpc>
            </a:pPr>
            <a:r>
              <a:rPr lang="en-US" sz="900" b="1" dirty="0">
                <a:solidFill>
                  <a:srgbClr val="0F238C"/>
                </a:solidFill>
                <a:ea typeface="+mn-ea"/>
                <a:cs typeface="Arial" charset="0"/>
              </a:rPr>
              <a:t>PRS = Product Requirements Spec</a:t>
            </a:r>
          </a:p>
          <a:p>
            <a:pPr algn="l" eaLnBrk="1" hangingPunct="1">
              <a:lnSpc>
                <a:spcPct val="95000"/>
              </a:lnSpc>
            </a:pPr>
            <a:r>
              <a:rPr lang="en-US" sz="900" b="1" dirty="0">
                <a:solidFill>
                  <a:srgbClr val="0F238C"/>
                </a:solidFill>
                <a:ea typeface="+mn-ea"/>
                <a:cs typeface="Arial" charset="0"/>
              </a:rPr>
              <a:t>SPS = System Performance Spec</a:t>
            </a:r>
          </a:p>
          <a:p>
            <a:pPr algn="l" eaLnBrk="1" hangingPunct="1">
              <a:lnSpc>
                <a:spcPct val="95000"/>
              </a:lnSpc>
            </a:pPr>
            <a:r>
              <a:rPr lang="en-US" sz="900" b="1" dirty="0">
                <a:solidFill>
                  <a:srgbClr val="0F238C"/>
                </a:solidFill>
                <a:ea typeface="+mn-ea"/>
                <a:cs typeface="Arial" charset="0"/>
              </a:rPr>
              <a:t>SDS = System Design Spec</a:t>
            </a:r>
          </a:p>
          <a:p>
            <a:pPr algn="l" eaLnBrk="1" hangingPunct="1">
              <a:lnSpc>
                <a:spcPct val="95000"/>
              </a:lnSpc>
            </a:pPr>
            <a:r>
              <a:rPr lang="en-US" sz="900" b="1" dirty="0">
                <a:solidFill>
                  <a:srgbClr val="0F238C"/>
                </a:solidFill>
                <a:ea typeface="+mn-ea"/>
                <a:cs typeface="Arial" charset="0"/>
              </a:rPr>
              <a:t>EPS = Element Performance Spec</a:t>
            </a:r>
          </a:p>
          <a:p>
            <a:pPr algn="l" eaLnBrk="1" hangingPunct="1">
              <a:lnSpc>
                <a:spcPct val="95000"/>
              </a:lnSpc>
            </a:pPr>
            <a:r>
              <a:rPr lang="en-US" sz="900" b="1" dirty="0">
                <a:solidFill>
                  <a:srgbClr val="0F238C"/>
                </a:solidFill>
                <a:ea typeface="+mn-ea"/>
                <a:cs typeface="Arial" charset="0"/>
              </a:rPr>
              <a:t>EDS = Element Design Spec</a:t>
            </a:r>
          </a:p>
          <a:p>
            <a:pPr algn="l" eaLnBrk="1" hangingPunct="1">
              <a:lnSpc>
                <a:spcPct val="95000"/>
              </a:lnSpc>
            </a:pPr>
            <a:r>
              <a:rPr lang="en-US" sz="900" b="1" dirty="0">
                <a:solidFill>
                  <a:srgbClr val="0F238C"/>
                </a:solidFill>
                <a:ea typeface="+mn-ea"/>
                <a:cs typeface="Arial" charset="0"/>
              </a:rPr>
              <a:t>TPS = Test performance Spec</a:t>
            </a:r>
          </a:p>
          <a:p>
            <a:pPr algn="l" eaLnBrk="1" hangingPunct="1">
              <a:lnSpc>
                <a:spcPct val="95000"/>
              </a:lnSpc>
            </a:pPr>
            <a:r>
              <a:rPr lang="en-US" sz="900" b="1" dirty="0">
                <a:solidFill>
                  <a:srgbClr val="0F238C"/>
                </a:solidFill>
                <a:ea typeface="+mn-ea"/>
                <a:cs typeface="Arial" charset="0"/>
              </a:rPr>
              <a:t>TAR = Test Acceptance Report</a:t>
            </a:r>
          </a:p>
          <a:p>
            <a:pPr algn="l" eaLnBrk="1" hangingPunct="1">
              <a:lnSpc>
                <a:spcPct val="95000"/>
              </a:lnSpc>
            </a:pPr>
            <a:r>
              <a:rPr lang="en-US" sz="1200" b="1" dirty="0">
                <a:solidFill>
                  <a:srgbClr val="000000"/>
                </a:solidFill>
                <a:ea typeface="+mn-ea"/>
                <a:cs typeface="Arial" charset="0"/>
              </a:rPr>
              <a:t>TPD</a:t>
            </a:r>
            <a:endParaRPr lang="en-US" sz="1200" b="1" dirty="0">
              <a:solidFill>
                <a:srgbClr val="0F238C"/>
              </a:solidFill>
              <a:ea typeface="+mn-ea"/>
              <a:cs typeface="Arial" charset="0"/>
            </a:endParaRPr>
          </a:p>
          <a:p>
            <a:pPr algn="l" eaLnBrk="1" hangingPunct="1">
              <a:lnSpc>
                <a:spcPct val="95000"/>
              </a:lnSpc>
            </a:pPr>
            <a:r>
              <a:rPr lang="en-US" sz="900" b="1" dirty="0">
                <a:solidFill>
                  <a:srgbClr val="000000"/>
                </a:solidFill>
                <a:ea typeface="+mn-ea"/>
                <a:cs typeface="Arial" charset="0"/>
              </a:rPr>
              <a:t>TPD = </a:t>
            </a:r>
            <a:r>
              <a:rPr lang="en-US" sz="900" b="1" dirty="0" err="1">
                <a:solidFill>
                  <a:srgbClr val="000000"/>
                </a:solidFill>
                <a:ea typeface="+mn-ea"/>
                <a:cs typeface="Arial" charset="0"/>
              </a:rPr>
              <a:t>Techn</a:t>
            </a:r>
            <a:r>
              <a:rPr lang="en-US" sz="900" b="1" dirty="0">
                <a:solidFill>
                  <a:srgbClr val="000000"/>
                </a:solidFill>
                <a:ea typeface="+mn-ea"/>
                <a:cs typeface="Arial" charset="0"/>
              </a:rPr>
              <a:t>. Product Documentation</a:t>
            </a:r>
          </a:p>
          <a:p>
            <a:pPr algn="l" eaLnBrk="1" hangingPunct="1">
              <a:lnSpc>
                <a:spcPct val="95000"/>
              </a:lnSpc>
            </a:pPr>
            <a:endParaRPr lang="en-US" sz="1050" b="1" dirty="0">
              <a:solidFill>
                <a:srgbClr val="000000"/>
              </a:solidFill>
              <a:ea typeface="+mn-ea"/>
              <a:cs typeface="Arial" charset="0"/>
            </a:endParaRPr>
          </a:p>
          <a:p>
            <a:pPr algn="l" eaLnBrk="1" hangingPunct="1">
              <a:lnSpc>
                <a:spcPct val="95000"/>
              </a:lnSpc>
            </a:pPr>
            <a:endParaRPr lang="en-US" sz="900" b="1" dirty="0">
              <a:solidFill>
                <a:srgbClr val="0F238C"/>
              </a:solidFill>
              <a:ea typeface="+mn-ea"/>
              <a:cs typeface="Arial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2ED4B5A-4438-40F2-A1A6-1C3A1B6A1864}"/>
              </a:ext>
            </a:extLst>
          </p:cNvPr>
          <p:cNvSpPr txBox="1"/>
          <p:nvPr/>
        </p:nvSpPr>
        <p:spPr>
          <a:xfrm>
            <a:off x="1545266" y="3233788"/>
            <a:ext cx="966611" cy="3231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0"/>
              </a:spcAft>
            </a:pPr>
            <a:r>
              <a:rPr lang="en-US" sz="1050" dirty="0">
                <a:solidFill>
                  <a:srgbClr val="FF0000"/>
                </a:solidFill>
                <a:latin typeface="+mn-lt"/>
              </a:rPr>
              <a:t>(e.g., A4 spec.</a:t>
            </a:r>
          </a:p>
          <a:p>
            <a:pPr>
              <a:spcAft>
                <a:spcPts val="0"/>
              </a:spcAft>
            </a:pPr>
            <a:r>
              <a:rPr lang="en-US" sz="1050" dirty="0">
                <a:solidFill>
                  <a:srgbClr val="FF0000"/>
                </a:solidFill>
                <a:latin typeface="+mn-lt"/>
              </a:rPr>
              <a:t>Functional TPS)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81F62093-9482-40F4-A09D-5A8F794CB4D5}"/>
              </a:ext>
            </a:extLst>
          </p:cNvPr>
          <p:cNvSpPr txBox="1"/>
          <p:nvPr/>
        </p:nvSpPr>
        <p:spPr>
          <a:xfrm>
            <a:off x="5990442" y="3282496"/>
            <a:ext cx="135453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0"/>
              </a:spcAft>
            </a:pPr>
            <a:r>
              <a:rPr lang="en-US" sz="1050" dirty="0">
                <a:solidFill>
                  <a:srgbClr val="FF0000"/>
                </a:solidFill>
                <a:latin typeface="+mn-lt"/>
              </a:rPr>
              <a:t>(e.g.,  Functional TAR)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081977B6-1A41-4F6E-B49C-FB55F60E6DA2}"/>
              </a:ext>
            </a:extLst>
          </p:cNvPr>
          <p:cNvSpPr txBox="1"/>
          <p:nvPr/>
        </p:nvSpPr>
        <p:spPr>
          <a:xfrm>
            <a:off x="1656153" y="3925678"/>
            <a:ext cx="1556274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0"/>
              </a:spcAft>
            </a:pPr>
            <a:r>
              <a:rPr lang="en-US" sz="1050" dirty="0">
                <a:solidFill>
                  <a:srgbClr val="FF0000"/>
                </a:solidFill>
                <a:latin typeface="+mn-lt"/>
              </a:rPr>
              <a:t>(e.g., SW EDS,  SW TPS)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9713FC20-F87D-4C8F-BBB1-DDC988D1F92C}"/>
              </a:ext>
            </a:extLst>
          </p:cNvPr>
          <p:cNvSpPr txBox="1"/>
          <p:nvPr/>
        </p:nvSpPr>
        <p:spPr>
          <a:xfrm>
            <a:off x="5334474" y="3887093"/>
            <a:ext cx="1556274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0"/>
              </a:spcAft>
            </a:pPr>
            <a:r>
              <a:rPr lang="en-US" sz="1050" dirty="0">
                <a:solidFill>
                  <a:srgbClr val="FF0000"/>
                </a:solidFill>
                <a:latin typeface="+mn-lt"/>
              </a:rPr>
              <a:t>(e.g., SW TAR)</a:t>
            </a:r>
          </a:p>
        </p:txBody>
      </p:sp>
    </p:spTree>
    <p:extLst>
      <p:ext uri="{BB962C8B-B14F-4D97-AF65-F5344CB8AC3E}">
        <p14:creationId xmlns:p14="http://schemas.microsoft.com/office/powerpoint/2010/main" val="351791879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F22277-B70E-4F5E-9EBA-4BFD6FAA11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LampModuleControllerTool</a:t>
            </a:r>
            <a:r>
              <a:rPr lang="en-US" dirty="0"/>
              <a:t> - detail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6022274-3564-44D7-A7BF-C92A6DF4190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4DAD75-6940-47B5-ABED-59E82201F1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9E589B-AAA2-4E83-AFD3-2993C58A57EE}" type="datetime3">
              <a:rPr lang="en-US" smtClean="0"/>
              <a:pPr/>
              <a:t>1 May 20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C483EA-7B77-454C-B974-15221C41259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D55968-11F0-4A50-9305-FC2A143BD90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/>
              <a:t>Slide </a:t>
            </a:r>
            <a:fld id="{2BF23E3A-8558-42B9-AEEE-59D910584A16}" type="slidenum">
              <a:rPr lang="en-US" smtClean="0"/>
              <a:pPr/>
              <a:t>26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3E9FD00-7E58-47F5-861C-2C6A276FDE2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6892" y="998688"/>
            <a:ext cx="6475114" cy="378286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EDB6AC0-B4A6-44FD-A0D7-83824F1A8D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97750" y="229136"/>
            <a:ext cx="8119854" cy="55170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A6AFE71-7350-486E-B93F-5E95EC4E2D1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22006" y="931853"/>
            <a:ext cx="6772275" cy="90487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AFFDC04-0463-48E5-B65A-5E8DAC9516D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54250" y="2003324"/>
            <a:ext cx="2235929" cy="108211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7CA34C2-15AE-4CC0-AEDE-961353AB72B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037132" y="2125482"/>
            <a:ext cx="3099676" cy="35433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38529C2-5229-499B-906B-70F1B60882A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7737692" y="2957207"/>
            <a:ext cx="8680450" cy="301623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DAA443A3-DDA1-478B-A523-4666B93A3DE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-4641427" y="-70291"/>
            <a:ext cx="5480050" cy="2909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989310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8362C3-747F-4E04-B171-4ED2D3E283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Autofac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4E40FC-8565-43AE-92B2-CAEAA885588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D79363-ECB4-4B9F-A464-1C744978D3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9E589B-AAA2-4E83-AFD3-2993C58A57EE}" type="datetime3">
              <a:rPr lang="en-US" smtClean="0"/>
              <a:pPr/>
              <a:t>1 May 20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6FCEB0-2214-46D2-A328-08EE48D3833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9D94D1-1F86-4F16-AA09-2998FADD269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/>
              <a:t>Slide </a:t>
            </a:r>
            <a:fld id="{2BF23E3A-8558-42B9-AEEE-59D910584A16}" type="slidenum">
              <a:rPr lang="en-US" smtClean="0"/>
              <a:pPr/>
              <a:t>27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03A8C6F-94F8-43B2-AE05-FCD9A48C88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16882" y="860037"/>
            <a:ext cx="3367927" cy="413132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A740399-DFEE-4712-8091-F7E43D19340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0990" y="755747"/>
            <a:ext cx="8724117" cy="1816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776625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2BA3C3-1EC2-4E4C-B844-7B3BEF52EB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PPS power on sequenc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1221199-40B6-4F0E-9526-472A8C336DD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2796FD4-2726-4D9B-A7C1-E581D0489B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9E589B-AAA2-4E83-AFD3-2993C58A57EE}" type="datetime3">
              <a:rPr lang="en-US" smtClean="0"/>
              <a:pPr/>
              <a:t>1 May 20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4F90CA-C065-4B39-B75D-1EBC95C7100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5119E9-0EEF-44EF-9346-AD44949FEE5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/>
              <a:t>Slide </a:t>
            </a:r>
            <a:fld id="{2BF23E3A-8558-42B9-AEEE-59D910584A16}" type="slidenum">
              <a:rPr lang="en-US" smtClean="0"/>
              <a:pPr/>
              <a:t>28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A357AEE-0A84-42D3-8BB6-D6EB48E9F39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0051" y="1737183"/>
            <a:ext cx="6086475" cy="1419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995715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C72159-BE09-4E70-A0AB-C1F9AC7C94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mbda function as ac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08AA1F3-2644-470D-8527-452D13296B3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21D3782-9574-4463-8599-3AA68C9ED5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9E589B-AAA2-4E83-AFD3-2993C58A57EE}" type="datetime3">
              <a:rPr lang="en-US" smtClean="0"/>
              <a:pPr/>
              <a:t>1 May 20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EF9121-ABEF-4B33-BB4B-442A85F5DCF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A66E41-3E3D-4218-B71B-9E9ABAF32B9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/>
              <a:t>Slide </a:t>
            </a:r>
            <a:fld id="{2BF23E3A-8558-42B9-AEEE-59D910584A16}" type="slidenum">
              <a:rPr lang="en-US" smtClean="0"/>
              <a:pPr/>
              <a:t>29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B8B409C-B5F6-4062-BDA8-A88D91A99E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92778" y="331940"/>
            <a:ext cx="3735076" cy="481156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2EA7F6E-E8C7-48EF-A72C-7BE9693D6A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360" y="1913423"/>
            <a:ext cx="4454844" cy="2314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28295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E909DD6-6DBF-4676-9F3C-3C6524212E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&lt;Date&gt;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7D97310-FB1E-4D26-8FBA-20E5766E67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noProof="0"/>
              <a:t>Slide </a:t>
            </a:r>
            <a:fld id="{1D9B13CD-33A0-446D-8703-F89F9F109F54}" type="slidenum">
              <a:rPr lang="en-US" noProof="0" smtClean="0"/>
              <a:pPr/>
              <a:t>3</a:t>
            </a:fld>
            <a:endParaRPr lang="en-US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93A7E1E-48AD-4A8C-A4F1-0C0996DBA5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YieldStar</a:t>
            </a:r>
            <a:r>
              <a:rPr lang="en-US" dirty="0"/>
              <a:t> Introductio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B52247D-6ADF-4EB8-B470-83F26F7A0D8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9" name="Picture 32">
            <a:extLst>
              <a:ext uri="{FF2B5EF4-FFF2-40B4-BE49-F238E27FC236}">
                <a16:creationId xmlns:a16="http://schemas.microsoft.com/office/drawing/2014/main" id="{6C2E443C-C496-4846-8C10-C2B0E2FAE3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6559" y="1154278"/>
            <a:ext cx="1702499" cy="14783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Box 33">
            <a:extLst>
              <a:ext uri="{FF2B5EF4-FFF2-40B4-BE49-F238E27FC236}">
                <a16:creationId xmlns:a16="http://schemas.microsoft.com/office/drawing/2014/main" id="{726FBC80-9441-4F1B-9C17-019A56C10DC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56623" y="924782"/>
            <a:ext cx="1540482" cy="1700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95000"/>
              </a:lnSpc>
            </a:pPr>
            <a:r>
              <a:rPr lang="en-US" altLang="en-US" sz="1600">
                <a:solidFill>
                  <a:schemeClr val="accent1"/>
                </a:solidFill>
              </a:rPr>
              <a:t>YieldStar hardware</a:t>
            </a:r>
          </a:p>
        </p:txBody>
      </p:sp>
      <p:grpSp>
        <p:nvGrpSpPr>
          <p:cNvPr id="11" name="Group 34">
            <a:extLst>
              <a:ext uri="{FF2B5EF4-FFF2-40B4-BE49-F238E27FC236}">
                <a16:creationId xmlns:a16="http://schemas.microsoft.com/office/drawing/2014/main" id="{791DDA20-32B1-4E7B-8226-3E8757A8BB84}"/>
              </a:ext>
            </a:extLst>
          </p:cNvPr>
          <p:cNvGrpSpPr>
            <a:grpSpLocks/>
          </p:cNvGrpSpPr>
          <p:nvPr/>
        </p:nvGrpSpPr>
        <p:grpSpPr bwMode="auto">
          <a:xfrm>
            <a:off x="2823266" y="914297"/>
            <a:ext cx="1900370" cy="1283787"/>
            <a:chOff x="1941" y="610"/>
            <a:chExt cx="1431" cy="1102"/>
          </a:xfrm>
        </p:grpSpPr>
        <p:sp>
          <p:nvSpPr>
            <p:cNvPr id="53" name="AutoShape 35">
              <a:extLst>
                <a:ext uri="{FF2B5EF4-FFF2-40B4-BE49-F238E27FC236}">
                  <a16:creationId xmlns:a16="http://schemas.microsoft.com/office/drawing/2014/main" id="{CFEA939F-B82B-48E5-97ED-86F4626C69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41" y="1311"/>
              <a:ext cx="525" cy="192"/>
            </a:xfrm>
            <a:prstGeom prst="rightArrow">
              <a:avLst>
                <a:gd name="adj1" fmla="val 50000"/>
                <a:gd name="adj2" fmla="val 68359"/>
              </a:avLst>
            </a:prstGeom>
            <a:solidFill>
              <a:schemeClr val="accent1"/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rIns="0" anchor="ctr">
              <a:spAutoFit/>
            </a:bodyPr>
            <a:lstStyle/>
            <a:p>
              <a:endParaRPr lang="en-US"/>
            </a:p>
          </p:txBody>
        </p:sp>
        <p:pic>
          <p:nvPicPr>
            <p:cNvPr id="54" name="Picture 36">
              <a:extLst>
                <a:ext uri="{FF2B5EF4-FFF2-40B4-BE49-F238E27FC236}">
                  <a16:creationId xmlns:a16="http://schemas.microsoft.com/office/drawing/2014/main" id="{9439EB80-92C8-49E1-BE03-EC2E84E7C06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20" y="1158"/>
              <a:ext cx="554" cy="5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55" name="Text Box 37">
              <a:extLst>
                <a:ext uri="{FF2B5EF4-FFF2-40B4-BE49-F238E27FC236}">
                  <a16:creationId xmlns:a16="http://schemas.microsoft.com/office/drawing/2014/main" id="{43D881A2-4023-4624-8783-002BBD00F7F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225" y="610"/>
              <a:ext cx="1147" cy="2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>
                <a:lnSpc>
                  <a:spcPct val="95000"/>
                </a:lnSpc>
              </a:pPr>
              <a:r>
                <a:rPr lang="en-US" altLang="en-US" sz="1600">
                  <a:solidFill>
                    <a:schemeClr val="accent1"/>
                  </a:solidFill>
                </a:rPr>
                <a:t>Raw measurement signal</a:t>
              </a:r>
            </a:p>
          </p:txBody>
        </p:sp>
      </p:grpSp>
      <p:grpSp>
        <p:nvGrpSpPr>
          <p:cNvPr id="13" name="Group 54">
            <a:extLst>
              <a:ext uri="{FF2B5EF4-FFF2-40B4-BE49-F238E27FC236}">
                <a16:creationId xmlns:a16="http://schemas.microsoft.com/office/drawing/2014/main" id="{B3827F6E-DB42-43FE-B610-E0EC247B42EE}"/>
              </a:ext>
            </a:extLst>
          </p:cNvPr>
          <p:cNvGrpSpPr>
            <a:grpSpLocks/>
          </p:cNvGrpSpPr>
          <p:nvPr/>
        </p:nvGrpSpPr>
        <p:grpSpPr bwMode="auto">
          <a:xfrm>
            <a:off x="4357108" y="910802"/>
            <a:ext cx="3193845" cy="1858112"/>
            <a:chOff x="3096" y="607"/>
            <a:chExt cx="2405" cy="1595"/>
          </a:xfrm>
        </p:grpSpPr>
        <p:sp>
          <p:nvSpPr>
            <p:cNvPr id="14" name="AutoShape 55">
              <a:extLst>
                <a:ext uri="{FF2B5EF4-FFF2-40B4-BE49-F238E27FC236}">
                  <a16:creationId xmlns:a16="http://schemas.microsoft.com/office/drawing/2014/main" id="{4A602C12-98AD-46A0-BAD6-C289A1F284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96" y="1311"/>
              <a:ext cx="525" cy="192"/>
            </a:xfrm>
            <a:prstGeom prst="rightArrow">
              <a:avLst>
                <a:gd name="adj1" fmla="val 50000"/>
                <a:gd name="adj2" fmla="val 68359"/>
              </a:avLst>
            </a:prstGeom>
            <a:solidFill>
              <a:schemeClr val="accent1"/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rIns="0" anchor="ctr">
              <a:spAutoFit/>
            </a:bodyPr>
            <a:lstStyle/>
            <a:p>
              <a:endParaRPr lang="en-US"/>
            </a:p>
          </p:txBody>
        </p:sp>
        <p:grpSp>
          <p:nvGrpSpPr>
            <p:cNvPr id="15" name="Group 56">
              <a:extLst>
                <a:ext uri="{FF2B5EF4-FFF2-40B4-BE49-F238E27FC236}">
                  <a16:creationId xmlns:a16="http://schemas.microsoft.com/office/drawing/2014/main" id="{FDEFBC5B-76B7-4E46-8525-4E3AE058A3E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622" y="607"/>
              <a:ext cx="1879" cy="1595"/>
              <a:chOff x="3622" y="607"/>
              <a:chExt cx="1879" cy="1595"/>
            </a:xfrm>
          </p:grpSpPr>
          <p:grpSp>
            <p:nvGrpSpPr>
              <p:cNvPr id="16" name="Group 57">
                <a:extLst>
                  <a:ext uri="{FF2B5EF4-FFF2-40B4-BE49-F238E27FC236}">
                    <a16:creationId xmlns:a16="http://schemas.microsoft.com/office/drawing/2014/main" id="{D6D8BD46-8A08-444A-B05C-128E670F162D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638" y="607"/>
                <a:ext cx="1786" cy="1400"/>
                <a:chOff x="3638" y="607"/>
                <a:chExt cx="1786" cy="1400"/>
              </a:xfrm>
            </p:grpSpPr>
            <p:grpSp>
              <p:nvGrpSpPr>
                <p:cNvPr id="18" name="Group 58">
                  <a:extLst>
                    <a:ext uri="{FF2B5EF4-FFF2-40B4-BE49-F238E27FC236}">
                      <a16:creationId xmlns:a16="http://schemas.microsoft.com/office/drawing/2014/main" id="{EB1CC6FA-788D-4614-8802-8F1B57A7EE2D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3638" y="850"/>
                  <a:ext cx="1786" cy="1157"/>
                  <a:chOff x="2783" y="2403"/>
                  <a:chExt cx="2378" cy="1540"/>
                </a:xfrm>
              </p:grpSpPr>
              <p:sp>
                <p:nvSpPr>
                  <p:cNvPr id="20" name="Line 59">
                    <a:extLst>
                      <a:ext uri="{FF2B5EF4-FFF2-40B4-BE49-F238E27FC236}">
                        <a16:creationId xmlns:a16="http://schemas.microsoft.com/office/drawing/2014/main" id="{906A8302-4DD2-4219-9809-619864CFBA8B}"/>
                      </a:ext>
                    </a:extLst>
                  </p:cNvPr>
                  <p:cNvSpPr>
                    <a:spLocks noChangeAspect="1" noChangeShapeType="1"/>
                  </p:cNvSpPr>
                  <p:nvPr/>
                </p:nvSpPr>
                <p:spPr bwMode="auto">
                  <a:xfrm>
                    <a:off x="3246" y="2441"/>
                    <a:ext cx="1609" cy="82"/>
                  </a:xfrm>
                  <a:prstGeom prst="line">
                    <a:avLst/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round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lIns="0" rIns="0"/>
                  <a:lstStyle/>
                  <a:p>
                    <a:endParaRPr lang="en-US"/>
                  </a:p>
                </p:txBody>
              </p:sp>
              <p:sp>
                <p:nvSpPr>
                  <p:cNvPr id="21" name="Rectangle 60">
                    <a:extLst>
                      <a:ext uri="{FF2B5EF4-FFF2-40B4-BE49-F238E27FC236}">
                        <a16:creationId xmlns:a16="http://schemas.microsoft.com/office/drawing/2014/main" id="{624AEDAE-8133-4392-B6D6-D54DECBB1318}"/>
                      </a:ext>
                    </a:extLst>
                  </p:cNvPr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2783" y="3148"/>
                    <a:ext cx="2068" cy="405"/>
                  </a:xfrm>
                  <a:prstGeom prst="rect">
                    <a:avLst/>
                  </a:prstGeom>
                  <a:solidFill>
                    <a:srgbClr val="969696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6350" algn="ctr">
                        <a:solidFill>
                          <a:schemeClr val="accent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2" name="AutoShape 61">
                    <a:extLst>
                      <a:ext uri="{FF2B5EF4-FFF2-40B4-BE49-F238E27FC236}">
                        <a16:creationId xmlns:a16="http://schemas.microsoft.com/office/drawing/2014/main" id="{63CFBFC7-30F8-4593-93CE-9CF61AE435BE}"/>
                      </a:ext>
                    </a:extLst>
                  </p:cNvPr>
                  <p:cNvSpPr>
                    <a:spLocks noChangeAspect="1" noChangeArrowheads="1"/>
                  </p:cNvSpPr>
                  <p:nvPr/>
                </p:nvSpPr>
                <p:spPr bwMode="auto">
                  <a:xfrm flipV="1">
                    <a:off x="2791" y="2721"/>
                    <a:ext cx="422" cy="366"/>
                  </a:xfrm>
                  <a:custGeom>
                    <a:avLst/>
                    <a:gdLst>
                      <a:gd name="G0" fmla="+- 5400 0 0"/>
                      <a:gd name="G1" fmla="+- 21600 0 5400"/>
                      <a:gd name="G2" fmla="*/ 5400 1 2"/>
                      <a:gd name="G3" fmla="+- 21600 0 G2"/>
                      <a:gd name="G4" fmla="+/ 5400 21600 2"/>
                      <a:gd name="G5" fmla="+/ G1 0 2"/>
                      <a:gd name="G6" fmla="*/ 21600 21600 5400"/>
                      <a:gd name="G7" fmla="*/ G6 1 2"/>
                      <a:gd name="G8" fmla="+- 21600 0 G7"/>
                      <a:gd name="G9" fmla="*/ 21600 1 2"/>
                      <a:gd name="G10" fmla="+- 5400 0 G9"/>
                      <a:gd name="G11" fmla="?: G10 G8 0"/>
                      <a:gd name="G12" fmla="?: G10 G7 21600"/>
                      <a:gd name="T0" fmla="*/ 18900 w 21600"/>
                      <a:gd name="T1" fmla="*/ 10800 h 21600"/>
                      <a:gd name="T2" fmla="*/ 10800 w 21600"/>
                      <a:gd name="T3" fmla="*/ 21600 h 21600"/>
                      <a:gd name="T4" fmla="*/ 2700 w 21600"/>
                      <a:gd name="T5" fmla="*/ 10800 h 21600"/>
                      <a:gd name="T6" fmla="*/ 10800 w 21600"/>
                      <a:gd name="T7" fmla="*/ 0 h 21600"/>
                      <a:gd name="T8" fmla="*/ 4500 w 21600"/>
                      <a:gd name="T9" fmla="*/ 4500 h 21600"/>
                      <a:gd name="T10" fmla="*/ 17100 w 21600"/>
                      <a:gd name="T11" fmla="*/ 171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T8" t="T9" r="T10" b="T11"/>
                    <a:pathLst>
                      <a:path w="21600" h="21600">
                        <a:moveTo>
                          <a:pt x="0" y="0"/>
                        </a:moveTo>
                        <a:lnTo>
                          <a:pt x="5400" y="21600"/>
                        </a:lnTo>
                        <a:lnTo>
                          <a:pt x="16200" y="21600"/>
                        </a:lnTo>
                        <a:lnTo>
                          <a:pt x="21600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6350" algn="ctr">
                        <a:solidFill>
                          <a:schemeClr val="accent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3" name="AutoShape 62">
                    <a:extLst>
                      <a:ext uri="{FF2B5EF4-FFF2-40B4-BE49-F238E27FC236}">
                        <a16:creationId xmlns:a16="http://schemas.microsoft.com/office/drawing/2014/main" id="{14CAF1CD-5F8D-4457-BFCC-1D8EAAED01D2}"/>
                      </a:ext>
                    </a:extLst>
                  </p:cNvPr>
                  <p:cNvSpPr>
                    <a:spLocks noChangeAspect="1" noChangeArrowheads="1"/>
                  </p:cNvSpPr>
                  <p:nvPr/>
                </p:nvSpPr>
                <p:spPr bwMode="auto">
                  <a:xfrm flipV="1">
                    <a:off x="3519" y="2721"/>
                    <a:ext cx="422" cy="366"/>
                  </a:xfrm>
                  <a:custGeom>
                    <a:avLst/>
                    <a:gdLst>
                      <a:gd name="G0" fmla="+- 5400 0 0"/>
                      <a:gd name="G1" fmla="+- 21600 0 5400"/>
                      <a:gd name="G2" fmla="*/ 5400 1 2"/>
                      <a:gd name="G3" fmla="+- 21600 0 G2"/>
                      <a:gd name="G4" fmla="+/ 5400 21600 2"/>
                      <a:gd name="G5" fmla="+/ G1 0 2"/>
                      <a:gd name="G6" fmla="*/ 21600 21600 5400"/>
                      <a:gd name="G7" fmla="*/ G6 1 2"/>
                      <a:gd name="G8" fmla="+- 21600 0 G7"/>
                      <a:gd name="G9" fmla="*/ 21600 1 2"/>
                      <a:gd name="G10" fmla="+- 5400 0 G9"/>
                      <a:gd name="G11" fmla="?: G10 G8 0"/>
                      <a:gd name="G12" fmla="?: G10 G7 21600"/>
                      <a:gd name="T0" fmla="*/ 18900 w 21600"/>
                      <a:gd name="T1" fmla="*/ 10800 h 21600"/>
                      <a:gd name="T2" fmla="*/ 10800 w 21600"/>
                      <a:gd name="T3" fmla="*/ 21600 h 21600"/>
                      <a:gd name="T4" fmla="*/ 2700 w 21600"/>
                      <a:gd name="T5" fmla="*/ 10800 h 21600"/>
                      <a:gd name="T6" fmla="*/ 10800 w 21600"/>
                      <a:gd name="T7" fmla="*/ 0 h 21600"/>
                      <a:gd name="T8" fmla="*/ 4500 w 21600"/>
                      <a:gd name="T9" fmla="*/ 4500 h 21600"/>
                      <a:gd name="T10" fmla="*/ 17100 w 21600"/>
                      <a:gd name="T11" fmla="*/ 171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T8" t="T9" r="T10" b="T11"/>
                    <a:pathLst>
                      <a:path w="21600" h="21600">
                        <a:moveTo>
                          <a:pt x="0" y="0"/>
                        </a:moveTo>
                        <a:lnTo>
                          <a:pt x="5400" y="21600"/>
                        </a:lnTo>
                        <a:lnTo>
                          <a:pt x="16200" y="21600"/>
                        </a:lnTo>
                        <a:lnTo>
                          <a:pt x="21600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6350" algn="ctr">
                        <a:solidFill>
                          <a:schemeClr val="accent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4" name="AutoShape 63">
                    <a:extLst>
                      <a:ext uri="{FF2B5EF4-FFF2-40B4-BE49-F238E27FC236}">
                        <a16:creationId xmlns:a16="http://schemas.microsoft.com/office/drawing/2014/main" id="{1272CD01-F399-4F34-ABDB-BBD837C489CE}"/>
                      </a:ext>
                    </a:extLst>
                  </p:cNvPr>
                  <p:cNvSpPr>
                    <a:spLocks noChangeAspect="1" noChangeArrowheads="1"/>
                  </p:cNvSpPr>
                  <p:nvPr/>
                </p:nvSpPr>
                <p:spPr bwMode="auto">
                  <a:xfrm flipV="1">
                    <a:off x="4248" y="2721"/>
                    <a:ext cx="422" cy="366"/>
                  </a:xfrm>
                  <a:custGeom>
                    <a:avLst/>
                    <a:gdLst>
                      <a:gd name="G0" fmla="+- 5400 0 0"/>
                      <a:gd name="G1" fmla="+- 21600 0 5400"/>
                      <a:gd name="G2" fmla="*/ 5400 1 2"/>
                      <a:gd name="G3" fmla="+- 21600 0 G2"/>
                      <a:gd name="G4" fmla="+/ 5400 21600 2"/>
                      <a:gd name="G5" fmla="+/ G1 0 2"/>
                      <a:gd name="G6" fmla="*/ 21600 21600 5400"/>
                      <a:gd name="G7" fmla="*/ G6 1 2"/>
                      <a:gd name="G8" fmla="+- 21600 0 G7"/>
                      <a:gd name="G9" fmla="*/ 21600 1 2"/>
                      <a:gd name="G10" fmla="+- 5400 0 G9"/>
                      <a:gd name="G11" fmla="?: G10 G8 0"/>
                      <a:gd name="G12" fmla="?: G10 G7 21600"/>
                      <a:gd name="T0" fmla="*/ 18900 w 21600"/>
                      <a:gd name="T1" fmla="*/ 10800 h 21600"/>
                      <a:gd name="T2" fmla="*/ 10800 w 21600"/>
                      <a:gd name="T3" fmla="*/ 21600 h 21600"/>
                      <a:gd name="T4" fmla="*/ 2700 w 21600"/>
                      <a:gd name="T5" fmla="*/ 10800 h 21600"/>
                      <a:gd name="T6" fmla="*/ 10800 w 21600"/>
                      <a:gd name="T7" fmla="*/ 0 h 21600"/>
                      <a:gd name="T8" fmla="*/ 4500 w 21600"/>
                      <a:gd name="T9" fmla="*/ 4500 h 21600"/>
                      <a:gd name="T10" fmla="*/ 17100 w 21600"/>
                      <a:gd name="T11" fmla="*/ 171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T8" t="T9" r="T10" b="T11"/>
                    <a:pathLst>
                      <a:path w="21600" h="21600">
                        <a:moveTo>
                          <a:pt x="0" y="0"/>
                        </a:moveTo>
                        <a:lnTo>
                          <a:pt x="5400" y="21600"/>
                        </a:lnTo>
                        <a:lnTo>
                          <a:pt x="16200" y="21600"/>
                        </a:lnTo>
                        <a:lnTo>
                          <a:pt x="21600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6350" algn="ctr">
                        <a:solidFill>
                          <a:schemeClr val="accent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5" name="AutoShape 64">
                    <a:extLst>
                      <a:ext uri="{FF2B5EF4-FFF2-40B4-BE49-F238E27FC236}">
                        <a16:creationId xmlns:a16="http://schemas.microsoft.com/office/drawing/2014/main" id="{FAE40BA3-4537-4DB3-99C5-C2158E438853}"/>
                      </a:ext>
                    </a:extLst>
                  </p:cNvPr>
                  <p:cNvSpPr>
                    <a:spLocks noChangeAspect="1" noChangeArrowheads="1"/>
                  </p:cNvSpPr>
                  <p:nvPr/>
                </p:nvSpPr>
                <p:spPr bwMode="auto">
                  <a:xfrm flipV="1">
                    <a:off x="2935" y="3169"/>
                    <a:ext cx="422" cy="366"/>
                  </a:xfrm>
                  <a:custGeom>
                    <a:avLst/>
                    <a:gdLst>
                      <a:gd name="G0" fmla="+- 5400 0 0"/>
                      <a:gd name="G1" fmla="+- 21600 0 5400"/>
                      <a:gd name="G2" fmla="*/ 5400 1 2"/>
                      <a:gd name="G3" fmla="+- 21600 0 G2"/>
                      <a:gd name="G4" fmla="+/ 5400 21600 2"/>
                      <a:gd name="G5" fmla="+/ G1 0 2"/>
                      <a:gd name="G6" fmla="*/ 21600 21600 5400"/>
                      <a:gd name="G7" fmla="*/ G6 1 2"/>
                      <a:gd name="G8" fmla="+- 21600 0 G7"/>
                      <a:gd name="G9" fmla="*/ 21600 1 2"/>
                      <a:gd name="G10" fmla="+- 5400 0 G9"/>
                      <a:gd name="G11" fmla="?: G10 G8 0"/>
                      <a:gd name="G12" fmla="?: G10 G7 21600"/>
                      <a:gd name="T0" fmla="*/ 18900 w 21600"/>
                      <a:gd name="T1" fmla="*/ 10800 h 21600"/>
                      <a:gd name="T2" fmla="*/ 10800 w 21600"/>
                      <a:gd name="T3" fmla="*/ 21600 h 21600"/>
                      <a:gd name="T4" fmla="*/ 2700 w 21600"/>
                      <a:gd name="T5" fmla="*/ 10800 h 21600"/>
                      <a:gd name="T6" fmla="*/ 10800 w 21600"/>
                      <a:gd name="T7" fmla="*/ 0 h 21600"/>
                      <a:gd name="T8" fmla="*/ 4500 w 21600"/>
                      <a:gd name="T9" fmla="*/ 4500 h 21600"/>
                      <a:gd name="T10" fmla="*/ 17100 w 21600"/>
                      <a:gd name="T11" fmla="*/ 171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T8" t="T9" r="T10" b="T11"/>
                    <a:pathLst>
                      <a:path w="21600" h="21600">
                        <a:moveTo>
                          <a:pt x="0" y="0"/>
                        </a:moveTo>
                        <a:lnTo>
                          <a:pt x="5400" y="21600"/>
                        </a:lnTo>
                        <a:lnTo>
                          <a:pt x="16200" y="21600"/>
                        </a:lnTo>
                        <a:lnTo>
                          <a:pt x="21600" y="0"/>
                        </a:lnTo>
                        <a:close/>
                      </a:path>
                    </a:pathLst>
                  </a:custGeom>
                  <a:solidFill>
                    <a:srgbClr val="F8C900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6350" algn="ctr">
                        <a:solidFill>
                          <a:schemeClr val="accent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6" name="AutoShape 65">
                    <a:extLst>
                      <a:ext uri="{FF2B5EF4-FFF2-40B4-BE49-F238E27FC236}">
                        <a16:creationId xmlns:a16="http://schemas.microsoft.com/office/drawing/2014/main" id="{0595CE33-5F88-47CC-A00A-577E38E4CC66}"/>
                      </a:ext>
                    </a:extLst>
                  </p:cNvPr>
                  <p:cNvSpPr>
                    <a:spLocks noChangeAspect="1" noChangeArrowheads="1"/>
                  </p:cNvSpPr>
                  <p:nvPr/>
                </p:nvSpPr>
                <p:spPr bwMode="auto">
                  <a:xfrm flipV="1">
                    <a:off x="3663" y="3169"/>
                    <a:ext cx="422" cy="366"/>
                  </a:xfrm>
                  <a:custGeom>
                    <a:avLst/>
                    <a:gdLst>
                      <a:gd name="G0" fmla="+- 5400 0 0"/>
                      <a:gd name="G1" fmla="+- 21600 0 5400"/>
                      <a:gd name="G2" fmla="*/ 5400 1 2"/>
                      <a:gd name="G3" fmla="+- 21600 0 G2"/>
                      <a:gd name="G4" fmla="+/ 5400 21600 2"/>
                      <a:gd name="G5" fmla="+/ G1 0 2"/>
                      <a:gd name="G6" fmla="*/ 21600 21600 5400"/>
                      <a:gd name="G7" fmla="*/ G6 1 2"/>
                      <a:gd name="G8" fmla="+- 21600 0 G7"/>
                      <a:gd name="G9" fmla="*/ 21600 1 2"/>
                      <a:gd name="G10" fmla="+- 5400 0 G9"/>
                      <a:gd name="G11" fmla="?: G10 G8 0"/>
                      <a:gd name="G12" fmla="?: G10 G7 21600"/>
                      <a:gd name="T0" fmla="*/ 18900 w 21600"/>
                      <a:gd name="T1" fmla="*/ 10800 h 21600"/>
                      <a:gd name="T2" fmla="*/ 10800 w 21600"/>
                      <a:gd name="T3" fmla="*/ 21600 h 21600"/>
                      <a:gd name="T4" fmla="*/ 2700 w 21600"/>
                      <a:gd name="T5" fmla="*/ 10800 h 21600"/>
                      <a:gd name="T6" fmla="*/ 10800 w 21600"/>
                      <a:gd name="T7" fmla="*/ 0 h 21600"/>
                      <a:gd name="T8" fmla="*/ 4500 w 21600"/>
                      <a:gd name="T9" fmla="*/ 4500 h 21600"/>
                      <a:gd name="T10" fmla="*/ 17100 w 21600"/>
                      <a:gd name="T11" fmla="*/ 171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T8" t="T9" r="T10" b="T11"/>
                    <a:pathLst>
                      <a:path w="21600" h="21600">
                        <a:moveTo>
                          <a:pt x="0" y="0"/>
                        </a:moveTo>
                        <a:lnTo>
                          <a:pt x="5400" y="21600"/>
                        </a:lnTo>
                        <a:lnTo>
                          <a:pt x="16200" y="21600"/>
                        </a:lnTo>
                        <a:lnTo>
                          <a:pt x="21600" y="0"/>
                        </a:lnTo>
                        <a:close/>
                      </a:path>
                    </a:pathLst>
                  </a:custGeom>
                  <a:solidFill>
                    <a:srgbClr val="F8C900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6350" algn="ctr">
                        <a:solidFill>
                          <a:schemeClr val="accent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7" name="AutoShape 66">
                    <a:extLst>
                      <a:ext uri="{FF2B5EF4-FFF2-40B4-BE49-F238E27FC236}">
                        <a16:creationId xmlns:a16="http://schemas.microsoft.com/office/drawing/2014/main" id="{8E11037A-B14F-47B7-A722-4761C49574D1}"/>
                      </a:ext>
                    </a:extLst>
                  </p:cNvPr>
                  <p:cNvSpPr>
                    <a:spLocks noChangeAspect="1" noChangeArrowheads="1"/>
                  </p:cNvSpPr>
                  <p:nvPr/>
                </p:nvSpPr>
                <p:spPr bwMode="auto">
                  <a:xfrm flipV="1">
                    <a:off x="4392" y="3169"/>
                    <a:ext cx="422" cy="366"/>
                  </a:xfrm>
                  <a:custGeom>
                    <a:avLst/>
                    <a:gdLst>
                      <a:gd name="G0" fmla="+- 5400 0 0"/>
                      <a:gd name="G1" fmla="+- 21600 0 5400"/>
                      <a:gd name="G2" fmla="*/ 5400 1 2"/>
                      <a:gd name="G3" fmla="+- 21600 0 G2"/>
                      <a:gd name="G4" fmla="+/ 5400 21600 2"/>
                      <a:gd name="G5" fmla="+/ G1 0 2"/>
                      <a:gd name="G6" fmla="*/ 21600 21600 5400"/>
                      <a:gd name="G7" fmla="*/ G6 1 2"/>
                      <a:gd name="G8" fmla="+- 21600 0 G7"/>
                      <a:gd name="G9" fmla="*/ 21600 1 2"/>
                      <a:gd name="G10" fmla="+- 5400 0 G9"/>
                      <a:gd name="G11" fmla="?: G10 G8 0"/>
                      <a:gd name="G12" fmla="?: G10 G7 21600"/>
                      <a:gd name="T0" fmla="*/ 18900 w 21600"/>
                      <a:gd name="T1" fmla="*/ 10800 h 21600"/>
                      <a:gd name="T2" fmla="*/ 10800 w 21600"/>
                      <a:gd name="T3" fmla="*/ 21600 h 21600"/>
                      <a:gd name="T4" fmla="*/ 2700 w 21600"/>
                      <a:gd name="T5" fmla="*/ 10800 h 21600"/>
                      <a:gd name="T6" fmla="*/ 10800 w 21600"/>
                      <a:gd name="T7" fmla="*/ 0 h 21600"/>
                      <a:gd name="T8" fmla="*/ 4500 w 21600"/>
                      <a:gd name="T9" fmla="*/ 4500 h 21600"/>
                      <a:gd name="T10" fmla="*/ 17100 w 21600"/>
                      <a:gd name="T11" fmla="*/ 171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T8" t="T9" r="T10" b="T11"/>
                    <a:pathLst>
                      <a:path w="21600" h="21600">
                        <a:moveTo>
                          <a:pt x="0" y="0"/>
                        </a:moveTo>
                        <a:lnTo>
                          <a:pt x="5400" y="21600"/>
                        </a:lnTo>
                        <a:lnTo>
                          <a:pt x="16200" y="21600"/>
                        </a:lnTo>
                        <a:lnTo>
                          <a:pt x="21600" y="0"/>
                        </a:lnTo>
                        <a:close/>
                      </a:path>
                    </a:pathLst>
                  </a:custGeom>
                  <a:solidFill>
                    <a:srgbClr val="F8C900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6350" algn="ctr">
                        <a:solidFill>
                          <a:schemeClr val="accent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8" name="Rectangle 67">
                    <a:extLst>
                      <a:ext uri="{FF2B5EF4-FFF2-40B4-BE49-F238E27FC236}">
                        <a16:creationId xmlns:a16="http://schemas.microsoft.com/office/drawing/2014/main" id="{FD961479-6FB0-4FC7-A65B-2ED2229739E4}"/>
                      </a:ext>
                    </a:extLst>
                  </p:cNvPr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2790" y="3545"/>
                    <a:ext cx="2068" cy="73"/>
                  </a:xfrm>
                  <a:prstGeom prst="rect">
                    <a:avLst/>
                  </a:prstGeom>
                  <a:solidFill>
                    <a:srgbClr val="669900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6350" algn="ctr">
                        <a:solidFill>
                          <a:schemeClr val="accent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9" name="Rectangle 68">
                    <a:extLst>
                      <a:ext uri="{FF2B5EF4-FFF2-40B4-BE49-F238E27FC236}">
                        <a16:creationId xmlns:a16="http://schemas.microsoft.com/office/drawing/2014/main" id="{A97599D8-43DB-42D5-AC90-43C159E88991}"/>
                      </a:ext>
                    </a:extLst>
                  </p:cNvPr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2789" y="3081"/>
                    <a:ext cx="2068" cy="73"/>
                  </a:xfrm>
                  <a:prstGeom prst="rect">
                    <a:avLst/>
                  </a:prstGeom>
                  <a:solidFill>
                    <a:srgbClr val="669900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6350" algn="ctr">
                        <a:solidFill>
                          <a:schemeClr val="accent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0" name="Line 69">
                    <a:extLst>
                      <a:ext uri="{FF2B5EF4-FFF2-40B4-BE49-F238E27FC236}">
                        <a16:creationId xmlns:a16="http://schemas.microsoft.com/office/drawing/2014/main" id="{4AFC8DE6-E219-4BEC-B57A-BCF1B68CBDA1}"/>
                      </a:ext>
                    </a:extLst>
                  </p:cNvPr>
                  <p:cNvSpPr>
                    <a:spLocks noChangeAspect="1" noChangeShapeType="1"/>
                  </p:cNvSpPr>
                  <p:nvPr/>
                </p:nvSpPr>
                <p:spPr bwMode="auto">
                  <a:xfrm>
                    <a:off x="4170" y="2864"/>
                    <a:ext cx="155" cy="0"/>
                  </a:xfrm>
                  <a:prstGeom prst="line">
                    <a:avLst/>
                  </a:prstGeom>
                  <a:noFill/>
                  <a:ln w="28575">
                    <a:solidFill>
                      <a:srgbClr val="00FF00"/>
                    </a:solidFill>
                    <a:round/>
                    <a:headEnd/>
                    <a:tailEnd type="triangle" w="med" len="med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lIns="0" tIns="0" rIns="0" bIns="0"/>
                  <a:lstStyle/>
                  <a:p>
                    <a:endParaRPr lang="en-US"/>
                  </a:p>
                </p:txBody>
              </p:sp>
              <p:sp>
                <p:nvSpPr>
                  <p:cNvPr id="31" name="Line 70">
                    <a:extLst>
                      <a:ext uri="{FF2B5EF4-FFF2-40B4-BE49-F238E27FC236}">
                        <a16:creationId xmlns:a16="http://schemas.microsoft.com/office/drawing/2014/main" id="{46B00445-0D42-47C5-ADCA-503987C69338}"/>
                      </a:ext>
                    </a:extLst>
                  </p:cNvPr>
                  <p:cNvSpPr>
                    <a:spLocks noChangeAspect="1" noChangeShapeType="1"/>
                  </p:cNvSpPr>
                  <p:nvPr/>
                </p:nvSpPr>
                <p:spPr bwMode="auto">
                  <a:xfrm flipH="1">
                    <a:off x="4594" y="2864"/>
                    <a:ext cx="155" cy="0"/>
                  </a:xfrm>
                  <a:prstGeom prst="line">
                    <a:avLst/>
                  </a:prstGeom>
                  <a:noFill/>
                  <a:ln w="28575">
                    <a:solidFill>
                      <a:srgbClr val="00FF00"/>
                    </a:solidFill>
                    <a:round/>
                    <a:headEnd/>
                    <a:tailEnd type="triangle" w="med" len="med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lIns="0" tIns="0" rIns="0" bIns="0"/>
                  <a:lstStyle/>
                  <a:p>
                    <a:endParaRPr lang="en-US"/>
                  </a:p>
                </p:txBody>
              </p:sp>
              <p:sp>
                <p:nvSpPr>
                  <p:cNvPr id="32" name="Text Box 71">
                    <a:extLst>
                      <a:ext uri="{FF2B5EF4-FFF2-40B4-BE49-F238E27FC236}">
                        <a16:creationId xmlns:a16="http://schemas.microsoft.com/office/drawing/2014/main" id="{61BE539F-3FA5-4AD2-9AF3-82C59BAB31CF}"/>
                      </a:ext>
                    </a:extLst>
                  </p:cNvPr>
                  <p:cNvSpPr txBox="1">
                    <a:spLocks noChangeAspect="1" noChangeArrowheads="1"/>
                  </p:cNvSpPr>
                  <p:nvPr/>
                </p:nvSpPr>
                <p:spPr bwMode="auto">
                  <a:xfrm>
                    <a:off x="4698" y="2599"/>
                    <a:ext cx="463" cy="194"/>
                  </a:xfrm>
                  <a:prstGeom prst="rect">
                    <a:avLst/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6350" algn="ctr">
                        <a:solidFill>
                          <a:schemeClr val="accent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lIns="0" tIns="0" rIns="0" bIns="0">
                    <a:spAutoFit/>
                  </a:bodyPr>
                  <a:lstStyle/>
                  <a:p>
                    <a:pPr algn="l">
                      <a:lnSpc>
                        <a:spcPct val="95000"/>
                      </a:lnSpc>
                    </a:pPr>
                    <a:r>
                      <a:rPr lang="en-US" altLang="en-US" sz="1600">
                        <a:solidFill>
                          <a:schemeClr val="accent1"/>
                        </a:solidFill>
                      </a:rPr>
                      <a:t>“</a:t>
                    </a:r>
                    <a:r>
                      <a:rPr lang="en-US" altLang="en-US" sz="1600">
                        <a:solidFill>
                          <a:srgbClr val="669900"/>
                        </a:solidFill>
                      </a:rPr>
                      <a:t>CD</a:t>
                    </a:r>
                    <a:r>
                      <a:rPr lang="en-US" altLang="en-US" sz="1600">
                        <a:solidFill>
                          <a:schemeClr val="accent1"/>
                        </a:solidFill>
                      </a:rPr>
                      <a:t>” </a:t>
                    </a:r>
                  </a:p>
                </p:txBody>
              </p:sp>
              <p:sp>
                <p:nvSpPr>
                  <p:cNvPr id="33" name="Line 72">
                    <a:extLst>
                      <a:ext uri="{FF2B5EF4-FFF2-40B4-BE49-F238E27FC236}">
                        <a16:creationId xmlns:a16="http://schemas.microsoft.com/office/drawing/2014/main" id="{FD0A8622-1A05-40EA-B223-653966F16A9D}"/>
                      </a:ext>
                    </a:extLst>
                  </p:cNvPr>
                  <p:cNvSpPr>
                    <a:spLocks noChangeAspect="1" noChangeShapeType="1"/>
                  </p:cNvSpPr>
                  <p:nvPr/>
                </p:nvSpPr>
                <p:spPr bwMode="auto">
                  <a:xfrm>
                    <a:off x="3894" y="2491"/>
                    <a:ext cx="0" cy="1452"/>
                  </a:xfrm>
                  <a:prstGeom prst="line">
                    <a:avLst/>
                  </a:prstGeom>
                  <a:noFill/>
                  <a:ln w="6350">
                    <a:solidFill>
                      <a:schemeClr val="accent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lIns="0" tIns="0" rIns="0" bIns="0"/>
                  <a:lstStyle/>
                  <a:p>
                    <a:endParaRPr lang="en-US"/>
                  </a:p>
                </p:txBody>
              </p:sp>
              <p:sp>
                <p:nvSpPr>
                  <p:cNvPr id="34" name="Line 73">
                    <a:extLst>
                      <a:ext uri="{FF2B5EF4-FFF2-40B4-BE49-F238E27FC236}">
                        <a16:creationId xmlns:a16="http://schemas.microsoft.com/office/drawing/2014/main" id="{F64DC7A2-FA31-4C28-BC6E-A934FC866A27}"/>
                      </a:ext>
                    </a:extLst>
                  </p:cNvPr>
                  <p:cNvSpPr>
                    <a:spLocks noChangeAspect="1" noChangeShapeType="1"/>
                  </p:cNvSpPr>
                  <p:nvPr/>
                </p:nvSpPr>
                <p:spPr bwMode="auto">
                  <a:xfrm>
                    <a:off x="3726" y="2491"/>
                    <a:ext cx="0" cy="1452"/>
                  </a:xfrm>
                  <a:prstGeom prst="line">
                    <a:avLst/>
                  </a:prstGeom>
                  <a:noFill/>
                  <a:ln w="6350">
                    <a:solidFill>
                      <a:schemeClr val="accent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lIns="0" tIns="0" rIns="0" bIns="0"/>
                  <a:lstStyle/>
                  <a:p>
                    <a:endParaRPr lang="en-US"/>
                  </a:p>
                </p:txBody>
              </p:sp>
              <p:sp>
                <p:nvSpPr>
                  <p:cNvPr id="35" name="Line 74">
                    <a:extLst>
                      <a:ext uri="{FF2B5EF4-FFF2-40B4-BE49-F238E27FC236}">
                        <a16:creationId xmlns:a16="http://schemas.microsoft.com/office/drawing/2014/main" id="{92E09546-0C9D-46DF-B1C1-84C3BC8D7812}"/>
                      </a:ext>
                    </a:extLst>
                  </p:cNvPr>
                  <p:cNvSpPr>
                    <a:spLocks noChangeAspect="1" noChangeShapeType="1"/>
                  </p:cNvSpPr>
                  <p:nvPr/>
                </p:nvSpPr>
                <p:spPr bwMode="auto">
                  <a:xfrm>
                    <a:off x="3562" y="2584"/>
                    <a:ext cx="155" cy="0"/>
                  </a:xfrm>
                  <a:prstGeom prst="line">
                    <a:avLst/>
                  </a:prstGeom>
                  <a:noFill/>
                  <a:ln w="28575">
                    <a:solidFill>
                      <a:srgbClr val="CC0000"/>
                    </a:solidFill>
                    <a:round/>
                    <a:headEnd/>
                    <a:tailEnd type="triangle" w="med" len="med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lIns="0" tIns="0" rIns="0" bIns="0"/>
                  <a:lstStyle/>
                  <a:p>
                    <a:endParaRPr lang="en-US"/>
                  </a:p>
                </p:txBody>
              </p:sp>
              <p:sp>
                <p:nvSpPr>
                  <p:cNvPr id="36" name="Line 75">
                    <a:extLst>
                      <a:ext uri="{FF2B5EF4-FFF2-40B4-BE49-F238E27FC236}">
                        <a16:creationId xmlns:a16="http://schemas.microsoft.com/office/drawing/2014/main" id="{261FE450-9FE9-4034-BC55-2180B2054F09}"/>
                      </a:ext>
                    </a:extLst>
                  </p:cNvPr>
                  <p:cNvSpPr>
                    <a:spLocks noChangeAspect="1" noChangeShapeType="1"/>
                  </p:cNvSpPr>
                  <p:nvPr/>
                </p:nvSpPr>
                <p:spPr bwMode="auto">
                  <a:xfrm flipH="1">
                    <a:off x="3906" y="2584"/>
                    <a:ext cx="155" cy="0"/>
                  </a:xfrm>
                  <a:prstGeom prst="line">
                    <a:avLst/>
                  </a:prstGeom>
                  <a:noFill/>
                  <a:ln w="28575">
                    <a:solidFill>
                      <a:srgbClr val="CC0000"/>
                    </a:solidFill>
                    <a:round/>
                    <a:headEnd/>
                    <a:tailEnd type="triangle" w="med" len="med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lIns="0" tIns="0" rIns="0" bIns="0"/>
                  <a:lstStyle/>
                  <a:p>
                    <a:endParaRPr lang="en-US"/>
                  </a:p>
                </p:txBody>
              </p:sp>
              <p:sp>
                <p:nvSpPr>
                  <p:cNvPr id="37" name="Text Box 76">
                    <a:extLst>
                      <a:ext uri="{FF2B5EF4-FFF2-40B4-BE49-F238E27FC236}">
                        <a16:creationId xmlns:a16="http://schemas.microsoft.com/office/drawing/2014/main" id="{F4CDCD19-4285-44D4-9604-F18D791C1371}"/>
                      </a:ext>
                    </a:extLst>
                  </p:cNvPr>
                  <p:cNvSpPr txBox="1">
                    <a:spLocks noChangeAspect="1" noChangeArrowheads="1"/>
                  </p:cNvSpPr>
                  <p:nvPr/>
                </p:nvSpPr>
                <p:spPr bwMode="auto">
                  <a:xfrm>
                    <a:off x="3349" y="2403"/>
                    <a:ext cx="464" cy="194"/>
                  </a:xfrm>
                  <a:prstGeom prst="rect">
                    <a:avLst/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6350" algn="ctr">
                        <a:solidFill>
                          <a:schemeClr val="accent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lIns="0" tIns="0" rIns="0" bIns="0">
                    <a:spAutoFit/>
                  </a:bodyPr>
                  <a:lstStyle/>
                  <a:p>
                    <a:pPr algn="l">
                      <a:lnSpc>
                        <a:spcPct val="95000"/>
                      </a:lnSpc>
                    </a:pPr>
                    <a:r>
                      <a:rPr lang="en-US" altLang="en-US" sz="1600">
                        <a:solidFill>
                          <a:schemeClr val="accent1"/>
                        </a:solidFill>
                      </a:rPr>
                      <a:t>“</a:t>
                    </a:r>
                    <a:r>
                      <a:rPr lang="en-US" altLang="en-US" sz="1600">
                        <a:solidFill>
                          <a:srgbClr val="CC0000"/>
                        </a:solidFill>
                      </a:rPr>
                      <a:t>OV</a:t>
                    </a:r>
                    <a:r>
                      <a:rPr lang="en-US" altLang="en-US" sz="1600">
                        <a:solidFill>
                          <a:schemeClr val="accent1"/>
                        </a:solidFill>
                      </a:rPr>
                      <a:t>” </a:t>
                    </a:r>
                  </a:p>
                </p:txBody>
              </p:sp>
            </p:grpSp>
            <p:sp>
              <p:nvSpPr>
                <p:cNvPr id="19" name="Text Box 77">
                  <a:extLst>
                    <a:ext uri="{FF2B5EF4-FFF2-40B4-BE49-F238E27FC236}">
                      <a16:creationId xmlns:a16="http://schemas.microsoft.com/office/drawing/2014/main" id="{B00EBA3D-185D-41A2-AC9F-3D36BE950461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3793" y="607"/>
                  <a:ext cx="1147" cy="146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6350" algn="ctr">
                      <a:solidFill>
                        <a:schemeClr val="accent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0" tIns="0" rIns="0" bIns="0">
                  <a:spAutoFit/>
                </a:bodyPr>
                <a:lstStyle/>
                <a:p>
                  <a:pPr>
                    <a:lnSpc>
                      <a:spcPct val="95000"/>
                    </a:lnSpc>
                  </a:pPr>
                  <a:r>
                    <a:rPr lang="en-US" altLang="en-US" sz="1600">
                      <a:solidFill>
                        <a:schemeClr val="accent1"/>
                      </a:solidFill>
                    </a:rPr>
                    <a:t>Relevant metrics</a:t>
                  </a:r>
                </a:p>
              </p:txBody>
            </p:sp>
          </p:grpSp>
          <p:sp>
            <p:nvSpPr>
              <p:cNvPr id="17" name="Rectangle 78">
                <a:extLst>
                  <a:ext uri="{FF2B5EF4-FFF2-40B4-BE49-F238E27FC236}">
                    <a16:creationId xmlns:a16="http://schemas.microsoft.com/office/drawing/2014/main" id="{BD90C51A-3F48-40BA-9276-4D9B370950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22" y="1775"/>
                <a:ext cx="1879" cy="427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>
                <a:spAutoFit/>
              </a:bodyPr>
              <a:lstStyle/>
              <a:p>
                <a:pPr algn="l">
                  <a:lnSpc>
                    <a:spcPct val="95000"/>
                  </a:lnSpc>
                </a:pPr>
                <a:r>
                  <a:rPr lang="en-US" altLang="en-US" sz="1700" dirty="0">
                    <a:solidFill>
                      <a:srgbClr val="669900"/>
                    </a:solidFill>
                  </a:rPr>
                  <a:t>CD</a:t>
                </a:r>
                <a:r>
                  <a:rPr lang="en-US" altLang="en-US" sz="1700" b="0" dirty="0">
                    <a:solidFill>
                      <a:schemeClr val="accent1"/>
                    </a:solidFill>
                  </a:rPr>
                  <a:t> = “Critical dimensions”</a:t>
                </a:r>
              </a:p>
              <a:p>
                <a:pPr algn="l">
                  <a:lnSpc>
                    <a:spcPct val="95000"/>
                  </a:lnSpc>
                </a:pPr>
                <a:r>
                  <a:rPr lang="en-US" altLang="en-US" sz="1700" dirty="0">
                    <a:solidFill>
                      <a:srgbClr val="CC0000"/>
                    </a:solidFill>
                  </a:rPr>
                  <a:t>OV</a:t>
                </a:r>
                <a:r>
                  <a:rPr lang="en-US" altLang="en-US" sz="1700" b="0" dirty="0">
                    <a:solidFill>
                      <a:schemeClr val="accent1"/>
                    </a:solidFill>
                  </a:rPr>
                  <a:t> = “Overlay”</a:t>
                </a:r>
              </a:p>
            </p:txBody>
          </p:sp>
        </p:grpSp>
      </p:grpSp>
      <p:pic>
        <p:nvPicPr>
          <p:cNvPr id="10242" name="Picture 2" descr="https://lh4.googleusercontent.com/lTSLPaRSnaaQr6dVZ68B2OIMGQaYgMEg4UVh3Y27A3_taIWTKc2Owe-_eY3lv4R_x1Pl1LcgTIX4N9vZxjRBttogIVxhd8j0tDfKpVa4X6MHpU_PQmKwMPmzOAfHCdU8J9rzHGlD">
            <a:extLst>
              <a:ext uri="{FF2B5EF4-FFF2-40B4-BE49-F238E27FC236}">
                <a16:creationId xmlns:a16="http://schemas.microsoft.com/office/drawing/2014/main" id="{DD9C3D70-0593-4FD1-B01D-BE5B70AE9B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4930" y="2632614"/>
            <a:ext cx="3011074" cy="23158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9731784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F6731C-E1F9-4DFA-A24D-C6BB0AAE98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- </a:t>
            </a:r>
            <a:r>
              <a:rPr lang="en-US" dirty="0" err="1"/>
              <a:t>IScheduler</a:t>
            </a:r>
            <a:r>
              <a:rPr lang="en-US" dirty="0"/>
              <a:t>(hard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D2E2253-A527-409F-B6D2-AF88DD70CB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4CD8DE5-52F8-40F6-B805-2AD68737E0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9E589B-AAA2-4E83-AFD3-2993C58A57EE}" type="datetime3">
              <a:rPr lang="en-US" smtClean="0"/>
              <a:pPr/>
              <a:t>1 May 20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F002383-E86F-4D3F-9D7A-CD6FA9D4EBB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981160-301F-455D-B4D8-68CE9F8A6F6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/>
              <a:t>Slide </a:t>
            </a:r>
            <a:fld id="{2BF23E3A-8558-42B9-AEEE-59D910584A16}" type="slidenum">
              <a:rPr lang="en-US" smtClean="0"/>
              <a:pPr/>
              <a:t>30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CA01AB2-E061-45D3-B3E6-E734349CF2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7079" y="1069848"/>
            <a:ext cx="8209842" cy="167191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9514A4A-88D6-4BDB-B1BC-76228691549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4466" y="2907115"/>
            <a:ext cx="9144000" cy="30434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913275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C55BA8-2DD8-46C4-BE49-D28779C786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LampModuleControllerToolContract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8B5502C-EE41-435C-ADA4-92B2D2B613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4466" y="1069848"/>
            <a:ext cx="5415085" cy="3711702"/>
          </a:xfrm>
        </p:spPr>
        <p:txBody>
          <a:bodyPr/>
          <a:lstStyle/>
          <a:p>
            <a:pPr marL="342900" indent="-342900">
              <a:buAutoNum type="arabicParenR"/>
            </a:pPr>
            <a:r>
              <a:rPr lang="en-US" dirty="0"/>
              <a:t>Used by </a:t>
            </a:r>
            <a:r>
              <a:rPr lang="en-US" dirty="0" err="1"/>
              <a:t>ViewModel</a:t>
            </a:r>
            <a:r>
              <a:rPr lang="en-US" dirty="0"/>
              <a:t> to control the back-end</a:t>
            </a:r>
          </a:p>
          <a:p>
            <a:pPr marL="342900" indent="-342900">
              <a:buAutoNum type="arabicParenR"/>
            </a:pPr>
            <a:r>
              <a:rPr lang="en-US" dirty="0"/>
              <a:t>Back-end need to implement those function</a:t>
            </a:r>
          </a:p>
          <a:p>
            <a:pPr marL="342900" indent="-342900">
              <a:buAutoNum type="arabicParenR"/>
            </a:pPr>
            <a:r>
              <a:rPr lang="en-US" dirty="0" err="1"/>
              <a:t>ILampModuleControllerToolContract</a:t>
            </a:r>
            <a:endParaRPr lang="en-US" dirty="0"/>
          </a:p>
          <a:p>
            <a:pPr marL="746125" lvl="1" indent="-342900">
              <a:buAutoNum type="arabicParenR"/>
            </a:pPr>
            <a:r>
              <a:rPr lang="en-US" dirty="0"/>
              <a:t>Implemented by </a:t>
            </a:r>
            <a:r>
              <a:rPr lang="en-US" dirty="0" err="1"/>
              <a:t>LampModuleWcfService</a:t>
            </a:r>
            <a:endParaRPr lang="en-US" dirty="0"/>
          </a:p>
          <a:p>
            <a:pPr marL="746125" lvl="1" indent="-342900">
              <a:buAutoNum type="arabicParenR"/>
            </a:pPr>
            <a:r>
              <a:rPr lang="en-US" dirty="0"/>
              <a:t>In </a:t>
            </a:r>
            <a:r>
              <a:rPr lang="en-US" dirty="0" err="1"/>
              <a:t>LampModuleWcfService</a:t>
            </a:r>
            <a:r>
              <a:rPr lang="en-US" dirty="0"/>
              <a:t>, it got a front-end member(</a:t>
            </a:r>
            <a:r>
              <a:rPr lang="en-US" dirty="0" err="1"/>
              <a:t>ContractCallback</a:t>
            </a:r>
            <a:r>
              <a:rPr lang="en-US" dirty="0"/>
              <a:t>)</a:t>
            </a:r>
          </a:p>
          <a:p>
            <a:pPr marL="746125" lvl="1" indent="-342900">
              <a:buAutoNum type="arabicParenR"/>
            </a:pPr>
            <a:r>
              <a:rPr lang="en-US" dirty="0"/>
              <a:t>Below functions implemented by VM</a:t>
            </a:r>
          </a:p>
          <a:p>
            <a:pPr marL="342900" indent="-342900">
              <a:buAutoNum type="arabicParenR"/>
            </a:pP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E295A8-69E1-489C-A267-7FFD976A07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9E589B-AAA2-4E83-AFD3-2993C58A57EE}" type="datetime3">
              <a:rPr lang="en-US" smtClean="0"/>
              <a:pPr/>
              <a:t>1 May 20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FB1008E-4FE4-43B7-A7FF-8152D0B969E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6A0A98-4447-4E0F-B1D6-400B34460BA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/>
              <a:t>Slide </a:t>
            </a:r>
            <a:fld id="{2BF23E3A-8558-42B9-AEEE-59D910584A16}" type="slidenum">
              <a:rPr lang="en-US" smtClean="0"/>
              <a:pPr/>
              <a:t>31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A9DA3FA-BD5C-4816-8775-2B6AED2964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3381" y="3329966"/>
            <a:ext cx="3778196" cy="3627068"/>
          </a:xfrm>
          <a:prstGeom prst="rect">
            <a:avLst/>
          </a:prstGeom>
        </p:spPr>
      </p:pic>
      <p:sp>
        <p:nvSpPr>
          <p:cNvPr id="9" name="Arrow: Right 8">
            <a:extLst>
              <a:ext uri="{FF2B5EF4-FFF2-40B4-BE49-F238E27FC236}">
                <a16:creationId xmlns:a16="http://schemas.microsoft.com/office/drawing/2014/main" id="{B3C94276-9822-40E3-9BDA-7ADDD9AA64BB}"/>
              </a:ext>
            </a:extLst>
          </p:cNvPr>
          <p:cNvSpPr/>
          <p:nvPr/>
        </p:nvSpPr>
        <p:spPr>
          <a:xfrm>
            <a:off x="5254668" y="1597068"/>
            <a:ext cx="415632" cy="219206"/>
          </a:xfrm>
          <a:prstGeom prst="rightArrow">
            <a:avLst/>
          </a:prstGeom>
          <a:solidFill>
            <a:schemeClr val="tx2"/>
          </a:solidFill>
          <a:ln w="19050" cap="sq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716BF4D-706F-4648-9724-B66BAB90334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70300" y="868661"/>
            <a:ext cx="9144000" cy="4192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169790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0685EE-4314-4F97-8516-AED3F28FA3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ple Factor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42DF7B8-5FE1-49E8-8BEA-462226C2308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46726F-66A9-4A0D-99DB-FDD585E0F2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9E589B-AAA2-4E83-AFD3-2993C58A57EE}" type="datetime3">
              <a:rPr lang="en-US" smtClean="0"/>
              <a:pPr/>
              <a:t>1 May 20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C75ABF-19F5-4CA5-BC82-17A56ECE055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0BD081-D503-4455-82AE-02066F4012D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/>
              <a:t>Slide </a:t>
            </a:r>
            <a:fld id="{2BF23E3A-8558-42B9-AEEE-59D910584A16}" type="slidenum">
              <a:rPr lang="en-US" smtClean="0"/>
              <a:pPr/>
              <a:t>32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EFFAB34-7453-4DF7-A3EE-61E409E431A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1520" y="929780"/>
            <a:ext cx="7459249" cy="3143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50628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YieldStar</a:t>
            </a:r>
            <a:r>
              <a:rPr lang="en-US" dirty="0"/>
              <a:t> Sensor Sub-Assemblies</a:t>
            </a:r>
          </a:p>
        </p:txBody>
      </p:sp>
      <p:sp>
        <p:nvSpPr>
          <p:cNvPr id="8" name="Date Placeholder 1">
            <a:extLst>
              <a:ext uri="{FF2B5EF4-FFF2-40B4-BE49-F238E27FC236}">
                <a16:creationId xmlns:a16="http://schemas.microsoft.com/office/drawing/2014/main" id="{5125F764-6CDF-441E-999A-45D83EDBB3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252230" y="862398"/>
            <a:ext cx="751973" cy="91440"/>
          </a:xfrm>
        </p:spPr>
        <p:txBody>
          <a:bodyPr/>
          <a:lstStyle/>
          <a:p>
            <a:fld id="{10237E0F-31B7-4BDA-92E9-DA49CF4D3E32}" type="datetime3">
              <a:rPr lang="en-US" smtClean="0"/>
              <a:t>1 May 2019</a:t>
            </a:fld>
            <a:endParaRPr lang="en-US" dirty="0"/>
          </a:p>
        </p:txBody>
      </p: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8232962A-BC26-470E-8E58-6703E2AC6D5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8252229" y="563395"/>
            <a:ext cx="751973" cy="91440"/>
          </a:xfrm>
        </p:spPr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C3663FEB-A903-4B73-A69A-F64A5F436FD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252230" y="733787"/>
            <a:ext cx="751249" cy="91440"/>
          </a:xfrm>
        </p:spPr>
        <p:txBody>
          <a:bodyPr/>
          <a:lstStyle/>
          <a:p>
            <a:r>
              <a:rPr lang="en-US"/>
              <a:t>Slide </a:t>
            </a:r>
            <a:fld id="{2BF23E3A-8558-42B9-AEEE-59D910584A16}" type="slidenum">
              <a:rPr lang="en-US" smtClean="0"/>
              <a:pPr/>
              <a:t>33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5BD59A6-EA7E-4263-B897-315482E256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" y="977963"/>
            <a:ext cx="7162800" cy="3879787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B42E3A70-8657-47F3-B74F-1C251D598EBC}"/>
              </a:ext>
            </a:extLst>
          </p:cNvPr>
          <p:cNvSpPr/>
          <p:nvPr/>
        </p:nvSpPr>
        <p:spPr>
          <a:xfrm>
            <a:off x="3200400" y="1977498"/>
            <a:ext cx="880844" cy="1127652"/>
          </a:xfrm>
          <a:prstGeom prst="rect">
            <a:avLst/>
          </a:prstGeom>
          <a:solidFill>
            <a:schemeClr val="accent4">
              <a:alpha val="30000"/>
            </a:schemeClr>
          </a:solidFill>
          <a:ln cap="sq">
            <a:solidFill>
              <a:schemeClr val="accent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</a:rPr>
              <a:t>UIA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728E2B1-1CD5-4A47-B892-A675DDCA413E}"/>
              </a:ext>
            </a:extLst>
          </p:cNvPr>
          <p:cNvSpPr/>
          <p:nvPr/>
        </p:nvSpPr>
        <p:spPr>
          <a:xfrm>
            <a:off x="2527521" y="2946721"/>
            <a:ext cx="672879" cy="558479"/>
          </a:xfrm>
          <a:prstGeom prst="rect">
            <a:avLst/>
          </a:prstGeom>
          <a:solidFill>
            <a:schemeClr val="accent4">
              <a:alpha val="30000"/>
            </a:schemeClr>
          </a:solidFill>
          <a:ln cap="sq">
            <a:solidFill>
              <a:schemeClr val="accent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</a:rPr>
              <a:t>FBIA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B3F795C-945E-44BC-8C6E-6EA8CC444C54}"/>
              </a:ext>
            </a:extLst>
          </p:cNvPr>
          <p:cNvSpPr/>
          <p:nvPr/>
        </p:nvSpPr>
        <p:spPr>
          <a:xfrm>
            <a:off x="1613121" y="2266950"/>
            <a:ext cx="914400" cy="1072829"/>
          </a:xfrm>
          <a:prstGeom prst="rect">
            <a:avLst/>
          </a:prstGeom>
          <a:solidFill>
            <a:schemeClr val="accent4">
              <a:alpha val="30000"/>
            </a:schemeClr>
          </a:solidFill>
          <a:ln cap="sq">
            <a:solidFill>
              <a:schemeClr val="accent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</a:rPr>
              <a:t>FBDA</a:t>
            </a:r>
          </a:p>
        </p:txBody>
      </p:sp>
    </p:spTree>
    <p:extLst>
      <p:ext uri="{BB962C8B-B14F-4D97-AF65-F5344CB8AC3E}">
        <p14:creationId xmlns:p14="http://schemas.microsoft.com/office/powerpoint/2010/main" val="289366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7" grpId="0" animBg="1"/>
      <p:bldP spid="18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28058A-4EF4-4947-BA7B-F55BF71E26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t data from EC in a quick mod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C86678-848C-4889-B7EB-DE90ECF284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38D929-E975-4152-963A-A35FBF02B8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9E589B-AAA2-4E83-AFD3-2993C58A57EE}" type="datetime3">
              <a:rPr lang="en-US" smtClean="0"/>
              <a:pPr/>
              <a:t>1 May 20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332984-B865-430E-827B-4D868DEFA16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FA2AEC-4425-495A-959E-C9DCA66CF0D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/>
              <a:t>Slide </a:t>
            </a:r>
            <a:fld id="{2BF23E3A-8558-42B9-AEEE-59D910584A16}" type="slidenum">
              <a:rPr lang="en-US" smtClean="0"/>
              <a:pPr/>
              <a:t>34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DD02CAA-C8B8-402D-BC43-5A86D259E2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049816"/>
            <a:ext cx="9144000" cy="1043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744142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A75487-18B6-419D-9052-CBA0797294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posab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B35A58-CC29-4AC8-8587-A012A61D7CD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hlinkClick r:id="rId2"/>
              </a:rPr>
              <a:t>link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E639B6-C653-4E03-AFAB-7981F5C7DA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9E589B-AAA2-4E83-AFD3-2993C58A57EE}" type="datetime3">
              <a:rPr lang="en-US" smtClean="0"/>
              <a:pPr/>
              <a:t>1 May 20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9B83DA4-4642-42D2-B334-5B268B184B7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F7010F-DA79-4E3C-A438-281B90BB9FD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/>
              <a:t>Slide </a:t>
            </a:r>
            <a:fld id="{2BF23E3A-8558-42B9-AEEE-59D910584A16}" type="slidenum">
              <a:rPr lang="en-US" smtClean="0"/>
              <a:pPr/>
              <a:t>35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8C7569F-DC98-4A66-8927-4994423A24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9070" y="1364199"/>
            <a:ext cx="8165860" cy="183043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97C8798-43E7-48C0-BAE5-F5BFED0A82F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2879" y="3406902"/>
            <a:ext cx="8610600" cy="133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5892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F7B941-18CC-4ECC-84EC-6CBC6BFEAA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dispose</a:t>
            </a:r>
            <a:r>
              <a:rPr lang="en-US" dirty="0"/>
              <a:t> sample code for </a:t>
            </a:r>
            <a:r>
              <a:rPr lang="en-US" dirty="0" err="1"/>
              <a:t>LampModu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80DC402-6AEF-4503-8635-E88EF9B51FA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err="1"/>
              <a:t>Lamp.c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61922E-5563-47C7-B6DD-07A116E688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9E589B-AAA2-4E83-AFD3-2993C58A57EE}" type="datetime3">
              <a:rPr lang="en-US" smtClean="0"/>
              <a:pPr/>
              <a:t>1 May 20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2C0504-884F-49CB-9031-9FF0D287448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FCE9FA-9FA9-43AF-9082-AEFB686BF4E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/>
              <a:t>Slide </a:t>
            </a:r>
            <a:fld id="{2BF23E3A-8558-42B9-AEEE-59D910584A16}" type="slidenum">
              <a:rPr lang="en-US" smtClean="0"/>
              <a:pPr/>
              <a:t>36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C51E2FA-A60C-42C1-ADBB-15BFD712B7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1625" y="1404061"/>
            <a:ext cx="3250506" cy="3542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71357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E909DD6-6DBF-4676-9F3C-3C6524212E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&lt;Date&gt;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7D97310-FB1E-4D26-8FBA-20E5766E67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noProof="0"/>
              <a:t>Slide </a:t>
            </a:r>
            <a:fld id="{1D9B13CD-33A0-446D-8703-F89F9F109F54}" type="slidenum">
              <a:rPr lang="en-US" noProof="0" smtClean="0"/>
              <a:pPr/>
              <a:t>4</a:t>
            </a:fld>
            <a:endParaRPr lang="en-US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93A7E1E-48AD-4A8C-A4F1-0C0996DBA5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sk Manager User Interfac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6369D9-4463-4305-9F0A-D94217F4A4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B52247D-6ADF-4EB8-B470-83F26F7A0D8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05268F3-DF1C-4480-93AB-C125DAC17A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" y="819000"/>
            <a:ext cx="7178339" cy="4111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05830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https://lh5.googleusercontent.com/E1tanqWU--F1H6_bLGgBQP5ZWnyUJY4wUEZPuMwF6pSM8cuxZqVsufqn9-RwGhivMjSg4Zyu5G0SRuAQd3yoLyMMliPHmMBQlKxMYoT9UkRiVrCMy8VPAF54cBWU7ZLsAk6OT278">
            <a:extLst>
              <a:ext uri="{FF2B5EF4-FFF2-40B4-BE49-F238E27FC236}">
                <a16:creationId xmlns:a16="http://schemas.microsoft.com/office/drawing/2014/main" id="{BBF03884-6A3B-4167-97F6-601982A7A6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4676" y="2571750"/>
            <a:ext cx="3509324" cy="24379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sk typ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29243" y="1084326"/>
            <a:ext cx="6959139" cy="3711702"/>
          </a:xfrm>
        </p:spPr>
        <p:txBody>
          <a:bodyPr>
            <a:normAutofit/>
          </a:bodyPr>
          <a:lstStyle/>
          <a:p>
            <a:r>
              <a:rPr lang="en-US" dirty="0"/>
              <a:t>Adjustment</a:t>
            </a:r>
          </a:p>
          <a:p>
            <a:r>
              <a:rPr lang="en-US" dirty="0"/>
              <a:t> 	</a:t>
            </a:r>
            <a:r>
              <a:rPr lang="en-US" dirty="0">
                <a:solidFill>
                  <a:schemeClr val="bg2"/>
                </a:solidFill>
              </a:rPr>
              <a:t>Adjust the system. User Interface, operator feedback</a:t>
            </a:r>
          </a:p>
          <a:p>
            <a:endParaRPr lang="en-US" dirty="0"/>
          </a:p>
          <a:p>
            <a:r>
              <a:rPr lang="en-US" dirty="0"/>
              <a:t>Calibration</a:t>
            </a:r>
          </a:p>
          <a:p>
            <a:r>
              <a:rPr lang="en-US" dirty="0">
                <a:solidFill>
                  <a:schemeClr val="bg2"/>
                </a:solidFill>
              </a:rPr>
              <a:t>	Calibrate the system. Update equipment constants</a:t>
            </a:r>
          </a:p>
          <a:p>
            <a:endParaRPr lang="en-US" dirty="0"/>
          </a:p>
          <a:p>
            <a:r>
              <a:rPr lang="en-US" dirty="0"/>
              <a:t>Performance</a:t>
            </a:r>
          </a:p>
          <a:p>
            <a:r>
              <a:rPr lang="en-US" dirty="0">
                <a:solidFill>
                  <a:schemeClr val="bg2"/>
                </a:solidFill>
              </a:rPr>
              <a:t>	Measure the performance of the system</a:t>
            </a:r>
          </a:p>
          <a:p>
            <a:endParaRPr lang="en-US" dirty="0"/>
          </a:p>
          <a:p>
            <a:r>
              <a:rPr lang="en-US" dirty="0"/>
              <a:t>The different task types share functionality (Measure, Recognize…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9E589B-AAA2-4E83-AFD3-2993C58A57EE}" type="datetime3">
              <a:rPr lang="en-US" smtClean="0"/>
              <a:pPr/>
              <a:t>1 May 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/>
              <a:t>Slide </a:t>
            </a:r>
            <a:fld id="{2BF23E3A-8558-42B9-AEEE-59D910584A16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4086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chnologi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066800" y="819150"/>
            <a:ext cx="6999828" cy="3711702"/>
          </a:xfrm>
        </p:spPr>
        <p:txBody>
          <a:bodyPr>
            <a:normAutofit fontScale="92500" lnSpcReduction="10000"/>
          </a:bodyPr>
          <a:lstStyle/>
          <a:p>
            <a:r>
              <a:rPr lang="en-US" dirty="0"/>
              <a:t>Windows Presentation Foundation (WPF)</a:t>
            </a:r>
          </a:p>
          <a:p>
            <a:r>
              <a:rPr lang="en-US" dirty="0">
                <a:solidFill>
                  <a:schemeClr val="bg2"/>
                </a:solidFill>
              </a:rPr>
              <a:t>	</a:t>
            </a:r>
            <a:r>
              <a:rPr lang="en-US" sz="1200" dirty="0">
                <a:solidFill>
                  <a:schemeClr val="bg2"/>
                </a:solidFill>
              </a:rPr>
              <a:t>“Next-generation presentation system for building Windows client applications”</a:t>
            </a:r>
          </a:p>
          <a:p>
            <a:r>
              <a:rPr lang="en-US" dirty="0" err="1"/>
              <a:t>Caliburn</a:t>
            </a:r>
            <a:r>
              <a:rPr lang="en-US" dirty="0"/>
              <a:t> Micro MVVM framework</a:t>
            </a:r>
          </a:p>
          <a:p>
            <a:r>
              <a:rPr lang="en-US" dirty="0">
                <a:solidFill>
                  <a:schemeClr val="bg2"/>
                </a:solidFill>
              </a:rPr>
              <a:t>	</a:t>
            </a:r>
            <a:r>
              <a:rPr lang="en-US" sz="1200" dirty="0">
                <a:solidFill>
                  <a:schemeClr val="bg2"/>
                </a:solidFill>
              </a:rPr>
              <a:t>Bootstrapping UI, Conventions to link view to </a:t>
            </a:r>
            <a:r>
              <a:rPr lang="en-US" sz="1200" dirty="0" err="1">
                <a:solidFill>
                  <a:schemeClr val="bg2"/>
                </a:solidFill>
              </a:rPr>
              <a:t>ViewModels</a:t>
            </a:r>
            <a:endParaRPr lang="en-US" sz="1200" dirty="0">
              <a:solidFill>
                <a:schemeClr val="bg2"/>
              </a:solidFill>
            </a:endParaRPr>
          </a:p>
          <a:p>
            <a:r>
              <a:rPr lang="en-US" dirty="0"/>
              <a:t>Windows Communication Foundation (WCF)</a:t>
            </a:r>
          </a:p>
          <a:p>
            <a:r>
              <a:rPr lang="en-US" dirty="0">
                <a:solidFill>
                  <a:schemeClr val="bg2"/>
                </a:solidFill>
              </a:rPr>
              <a:t>	</a:t>
            </a:r>
            <a:r>
              <a:rPr lang="en-US" sz="1200" dirty="0">
                <a:solidFill>
                  <a:schemeClr val="bg2"/>
                </a:solidFill>
              </a:rPr>
              <a:t>Communication between client and service processes based on contracts</a:t>
            </a:r>
          </a:p>
          <a:p>
            <a:r>
              <a:rPr lang="en-US" dirty="0" err="1"/>
              <a:t>AutoFac</a:t>
            </a:r>
            <a:endParaRPr lang="en-US" dirty="0"/>
          </a:p>
          <a:p>
            <a:r>
              <a:rPr lang="en-US" sz="1200" dirty="0">
                <a:solidFill>
                  <a:schemeClr val="bg2"/>
                </a:solidFill>
              </a:rPr>
              <a:t>	Inversion of Control, Dependency Injection</a:t>
            </a:r>
          </a:p>
          <a:p>
            <a:r>
              <a:rPr lang="en-US" sz="1900" dirty="0"/>
              <a:t>XSLT</a:t>
            </a:r>
          </a:p>
          <a:p>
            <a:r>
              <a:rPr lang="en-US" sz="1200" dirty="0">
                <a:solidFill>
                  <a:schemeClr val="bg2"/>
                </a:solidFill>
              </a:rPr>
              <a:t>	Output report template</a:t>
            </a:r>
          </a:p>
          <a:p>
            <a:r>
              <a:rPr lang="en-US" dirty="0"/>
              <a:t>Rhino and </a:t>
            </a:r>
            <a:r>
              <a:rPr lang="en-US" dirty="0" err="1"/>
              <a:t>Moq</a:t>
            </a:r>
            <a:r>
              <a:rPr lang="en-US" dirty="0"/>
              <a:t> framework</a:t>
            </a:r>
          </a:p>
          <a:p>
            <a:r>
              <a:rPr lang="en-US" sz="1200" dirty="0">
                <a:solidFill>
                  <a:schemeClr val="bg2"/>
                </a:solidFill>
              </a:rPr>
              <a:t>	Unit-Test framework</a:t>
            </a:r>
          </a:p>
          <a:p>
            <a:endParaRPr lang="en-US" sz="1200" dirty="0">
              <a:solidFill>
                <a:schemeClr val="bg2"/>
              </a:solidFill>
            </a:endParaRPr>
          </a:p>
          <a:p>
            <a:endParaRPr lang="en-US" sz="1200" dirty="0">
              <a:solidFill>
                <a:schemeClr val="bg2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9E589B-AAA2-4E83-AFD3-2993C58A57EE}" type="datetime3">
              <a:rPr lang="en-US" smtClean="0"/>
              <a:pPr/>
              <a:t>1 May 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/>
              <a:t>Slide </a:t>
            </a:r>
            <a:fld id="{2BF23E3A-8558-42B9-AEEE-59D910584A16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84752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>
          <a:xfrm>
            <a:off x="457200" y="3321855"/>
            <a:ext cx="3505200" cy="1231095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457200" y="895350"/>
            <a:ext cx="3505200" cy="2057147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l View </a:t>
            </a:r>
            <a:r>
              <a:rPr lang="en-US" dirty="0" err="1"/>
              <a:t>ViewMod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9E589B-AAA2-4E83-AFD3-2993C58A57EE}" type="datetime3">
              <a:rPr lang="en-US" smtClean="0"/>
              <a:pPr/>
              <a:t>1 May 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/>
              <a:t>Slide </a:t>
            </a:r>
            <a:fld id="{2BF23E3A-8558-42B9-AEEE-59D910584A16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1295400" y="3671069"/>
            <a:ext cx="2438400" cy="57708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ctr" anchorCtr="1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dirty="0" err="1">
                <a:solidFill>
                  <a:schemeClr val="tx2"/>
                </a:solidFill>
              </a:rPr>
              <a:t>TaskModel</a:t>
            </a:r>
            <a:endParaRPr lang="en-US" dirty="0">
              <a:solidFill>
                <a:schemeClr val="tx2"/>
              </a:solidFill>
            </a:endParaRPr>
          </a:p>
          <a:p>
            <a:pPr algn="ctr">
              <a:spcAft>
                <a:spcPts val="900"/>
              </a:spcAft>
            </a:pPr>
            <a:r>
              <a:rPr lang="en-US" sz="1200" dirty="0">
                <a:solidFill>
                  <a:schemeClr val="tx1"/>
                </a:solidFill>
              </a:rPr>
              <a:t>Does not know about UI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295400" y="2218298"/>
            <a:ext cx="2438400" cy="57708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ctr" anchorCtr="1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dirty="0" err="1">
                <a:solidFill>
                  <a:schemeClr val="tx2"/>
                </a:solidFill>
              </a:rPr>
              <a:t>TaskViewModel</a:t>
            </a:r>
            <a:endParaRPr lang="en-US" dirty="0">
              <a:solidFill>
                <a:schemeClr val="tx2"/>
              </a:solidFill>
            </a:endParaRPr>
          </a:p>
          <a:p>
            <a:pPr algn="ctr">
              <a:spcAft>
                <a:spcPts val="900"/>
              </a:spcAft>
            </a:pPr>
            <a:r>
              <a:rPr lang="en-US" sz="1200" dirty="0">
                <a:solidFill>
                  <a:schemeClr val="tx1"/>
                </a:solidFill>
              </a:rPr>
              <a:t>Connects Model to View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295400" y="1123950"/>
            <a:ext cx="2438400" cy="57708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ctr" anchorCtr="1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dirty="0" err="1">
                <a:solidFill>
                  <a:schemeClr val="tx2"/>
                </a:solidFill>
              </a:rPr>
              <a:t>TaskView</a:t>
            </a:r>
            <a:endParaRPr lang="en-US" dirty="0">
              <a:solidFill>
                <a:schemeClr val="tx2"/>
              </a:solidFill>
            </a:endParaRPr>
          </a:p>
          <a:p>
            <a:pPr algn="ctr">
              <a:spcAft>
                <a:spcPts val="900"/>
              </a:spcAft>
            </a:pPr>
            <a:r>
              <a:rPr lang="en-US" sz="1200" dirty="0">
                <a:solidFill>
                  <a:schemeClr val="tx1"/>
                </a:solidFill>
              </a:rPr>
              <a:t>UI Element</a:t>
            </a:r>
          </a:p>
        </p:txBody>
      </p:sp>
      <p:cxnSp>
        <p:nvCxnSpPr>
          <p:cNvPr id="11" name="Straight Arrow Connector 10"/>
          <p:cNvCxnSpPr/>
          <p:nvPr/>
        </p:nvCxnSpPr>
        <p:spPr>
          <a:xfrm>
            <a:off x="2438400" y="1701031"/>
            <a:ext cx="0" cy="51168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val 12"/>
          <p:cNvSpPr/>
          <p:nvPr/>
        </p:nvSpPr>
        <p:spPr>
          <a:xfrm>
            <a:off x="2305050" y="1842574"/>
            <a:ext cx="266700" cy="228600"/>
          </a:xfrm>
          <a:prstGeom prst="ellipse">
            <a:avLst/>
          </a:prstGeom>
          <a:solidFill>
            <a:schemeClr val="bg2"/>
          </a:solidFill>
          <a:ln cap="sq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2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603500" y="1864541"/>
            <a:ext cx="16002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1200" dirty="0">
                <a:solidFill>
                  <a:schemeClr val="tx2"/>
                </a:solidFill>
                <a:latin typeface="+mn-lt"/>
              </a:rPr>
              <a:t>WPF </a:t>
            </a:r>
            <a:r>
              <a:rPr lang="en-US" sz="1200" dirty="0" err="1">
                <a:solidFill>
                  <a:schemeClr val="tx2"/>
                </a:solidFill>
                <a:latin typeface="+mn-lt"/>
              </a:rPr>
              <a:t>DataBinding</a:t>
            </a:r>
            <a:endParaRPr lang="en-US" sz="12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495800" y="3333750"/>
            <a:ext cx="3276600" cy="4847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1200" dirty="0">
                <a:solidFill>
                  <a:schemeClr val="tx2"/>
                </a:solidFill>
                <a:latin typeface="+mn-lt"/>
              </a:rPr>
              <a:t>Acquire and publish images</a:t>
            </a:r>
          </a:p>
          <a:p>
            <a:pPr>
              <a:spcAft>
                <a:spcPts val="900"/>
              </a:spcAft>
            </a:pPr>
            <a:r>
              <a:rPr lang="en-US" sz="1200" dirty="0">
                <a:solidFill>
                  <a:schemeClr val="tx2"/>
                </a:solidFill>
                <a:latin typeface="+mn-lt"/>
              </a:rPr>
              <a:t>Perform calculations and publish result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508499" y="2190750"/>
            <a:ext cx="3743729" cy="4847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1200" dirty="0">
                <a:solidFill>
                  <a:schemeClr val="tx2"/>
                </a:solidFill>
                <a:latin typeface="+mn-lt"/>
              </a:rPr>
              <a:t>Convert Model data to a format the View can bind to</a:t>
            </a:r>
          </a:p>
          <a:p>
            <a:pPr>
              <a:spcAft>
                <a:spcPts val="900"/>
              </a:spcAft>
            </a:pPr>
            <a:r>
              <a:rPr lang="en-US" sz="1200" dirty="0">
                <a:solidFill>
                  <a:schemeClr val="tx2"/>
                </a:solidFill>
                <a:latin typeface="+mn-lt"/>
              </a:rPr>
              <a:t>Forward commands from the View to the Model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495800" y="1123950"/>
            <a:ext cx="3429000" cy="66941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1200" dirty="0">
                <a:solidFill>
                  <a:schemeClr val="tx2"/>
                </a:solidFill>
                <a:latin typeface="+mn-lt"/>
              </a:rPr>
              <a:t>Display images</a:t>
            </a:r>
          </a:p>
          <a:p>
            <a:pPr>
              <a:spcAft>
                <a:spcPts val="900"/>
              </a:spcAft>
            </a:pPr>
            <a:r>
              <a:rPr lang="en-US" sz="1200" dirty="0">
                <a:solidFill>
                  <a:schemeClr val="tx2"/>
                </a:solidFill>
                <a:latin typeface="+mn-lt"/>
              </a:rPr>
              <a:t>Translate keystrokes/mouse clicks into commands for the </a:t>
            </a:r>
            <a:r>
              <a:rPr lang="en-US" sz="1200" dirty="0" err="1">
                <a:solidFill>
                  <a:schemeClr val="tx2"/>
                </a:solidFill>
                <a:latin typeface="+mn-lt"/>
              </a:rPr>
              <a:t>ViewModel</a:t>
            </a:r>
            <a:endParaRPr lang="en-US" sz="1200" dirty="0">
              <a:solidFill>
                <a:schemeClr val="tx2"/>
              </a:solidFill>
              <a:latin typeface="+mn-lt"/>
            </a:endParaRPr>
          </a:p>
        </p:txBody>
      </p:sp>
      <p:cxnSp>
        <p:nvCxnSpPr>
          <p:cNvPr id="19" name="Straight Arrow Connector 18"/>
          <p:cNvCxnSpPr/>
          <p:nvPr/>
        </p:nvCxnSpPr>
        <p:spPr>
          <a:xfrm>
            <a:off x="2305050" y="2788987"/>
            <a:ext cx="0" cy="88208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2603500" y="2795379"/>
            <a:ext cx="0" cy="875690"/>
          </a:xfrm>
          <a:prstGeom prst="straightConnector1">
            <a:avLst/>
          </a:prstGeom>
          <a:ln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2667000" y="3072884"/>
            <a:ext cx="5334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1200" dirty="0">
                <a:solidFill>
                  <a:schemeClr val="tx2"/>
                </a:solidFill>
                <a:latin typeface="+mn-lt"/>
              </a:rPr>
              <a:t>WCF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533400" y="942201"/>
            <a:ext cx="16002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1200" dirty="0">
                <a:solidFill>
                  <a:schemeClr val="tx2"/>
                </a:solidFill>
                <a:latin typeface="+mn-lt"/>
              </a:rPr>
              <a:t>Client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533400" y="3377684"/>
            <a:ext cx="16002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1200" dirty="0">
                <a:solidFill>
                  <a:schemeClr val="tx2"/>
                </a:solidFill>
                <a:latin typeface="+mn-lt"/>
              </a:rPr>
              <a:t>Server</a:t>
            </a:r>
          </a:p>
        </p:txBody>
      </p:sp>
    </p:spTree>
    <p:extLst>
      <p:ext uri="{BB962C8B-B14F-4D97-AF65-F5344CB8AC3E}">
        <p14:creationId xmlns:p14="http://schemas.microsoft.com/office/powerpoint/2010/main" val="20147081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#Task 402 Class Diagram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9E589B-AAA2-4E83-AFD3-2993C58A57EE}" type="datetime3">
              <a:rPr lang="en-US" smtClean="0"/>
              <a:pPr/>
              <a:t>1 May 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/>
              <a:t>Slide </a:t>
            </a:r>
            <a:fld id="{2BF23E3A-8558-42B9-AEEE-59D910584A16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9219" name="Picture 3">
            <a:extLst>
              <a:ext uri="{FF2B5EF4-FFF2-40B4-BE49-F238E27FC236}">
                <a16:creationId xmlns:a16="http://schemas.microsoft.com/office/drawing/2014/main" id="{A3E41EC0-0232-425A-AB54-B8D6795EF5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5544" y="953838"/>
            <a:ext cx="5035007" cy="3791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9" name="Object 8">
            <a:hlinkClick r:id="" action="ppaction://ole?verb=0"/>
            <a:extLst>
              <a:ext uri="{FF2B5EF4-FFF2-40B4-BE49-F238E27FC236}">
                <a16:creationId xmlns:a16="http://schemas.microsoft.com/office/drawing/2014/main" id="{6DAC9CBB-79D0-45A4-A1AF-04BC4DE1715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10847392"/>
              </p:ext>
            </p:extLst>
          </p:nvPr>
        </p:nvGraphicFramePr>
        <p:xfrm>
          <a:off x="7073428" y="3883579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4" name="Presentation" showAsIcon="1" r:id="rId4" imgW="914400" imgH="771480" progId="PowerPoint.Show.12">
                  <p:embed/>
                </p:oleObj>
              </mc:Choice>
              <mc:Fallback>
                <p:oleObj name="Presentation" showAsIcon="1" r:id="rId4" imgW="914400" imgH="771480" progId="PowerPoint.Show.12">
                  <p:embed/>
                  <p:pic>
                    <p:nvPicPr>
                      <p:cNvPr id="6" name="Object 5">
                        <a:hlinkClick r:id="" action="ppaction://ole?verb=0"/>
                        <a:extLst>
                          <a:ext uri="{FF2B5EF4-FFF2-40B4-BE49-F238E27FC236}">
                            <a16:creationId xmlns:a16="http://schemas.microsoft.com/office/drawing/2014/main" id="{E96ABCD2-B851-4A29-9C87-7422B8A0B6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073428" y="3883579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032302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>
          <a:xfrm rot="10800000" flipV="1">
            <a:off x="607068" y="4449251"/>
            <a:ext cx="7924189" cy="414990"/>
          </a:xfrm>
          <a:prstGeom prst="rect">
            <a:avLst/>
          </a:prstGeom>
          <a:solidFill>
            <a:srgbClr val="92D050"/>
          </a:solidFill>
          <a:ln w="19050" cap="sq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14300"/>
            <a:r>
              <a:rPr lang="en-US" sz="1400" dirty="0">
                <a:solidFill>
                  <a:srgbClr val="FFFFFF"/>
                </a:solidFill>
              </a:rPr>
              <a:t>MOTOR FRAME</a:t>
            </a:r>
          </a:p>
        </p:txBody>
      </p:sp>
      <p:grpSp>
        <p:nvGrpSpPr>
          <p:cNvPr id="192" name="Group 191"/>
          <p:cNvGrpSpPr/>
          <p:nvPr/>
        </p:nvGrpSpPr>
        <p:grpSpPr>
          <a:xfrm flipV="1">
            <a:off x="5992243" y="1953362"/>
            <a:ext cx="1167190" cy="2883199"/>
            <a:chOff x="2204802" y="1343969"/>
            <a:chExt cx="1176248" cy="2967782"/>
          </a:xfrm>
        </p:grpSpPr>
        <p:grpSp>
          <p:nvGrpSpPr>
            <p:cNvPr id="199" name="Group 198"/>
            <p:cNvGrpSpPr/>
            <p:nvPr/>
          </p:nvGrpSpPr>
          <p:grpSpPr>
            <a:xfrm>
              <a:off x="2204802" y="1343969"/>
              <a:ext cx="1176248" cy="2159317"/>
              <a:chOff x="2211476" y="1323947"/>
              <a:chExt cx="1176248" cy="2159317"/>
            </a:xfrm>
          </p:grpSpPr>
          <p:sp>
            <p:nvSpPr>
              <p:cNvPr id="214" name="Rectangle 213"/>
              <p:cNvSpPr/>
              <p:nvPr/>
            </p:nvSpPr>
            <p:spPr>
              <a:xfrm>
                <a:off x="2687240" y="2380746"/>
                <a:ext cx="169501" cy="45719"/>
              </a:xfrm>
              <a:prstGeom prst="rect">
                <a:avLst/>
              </a:prstGeom>
              <a:solidFill>
                <a:srgbClr val="FFC000"/>
              </a:solidFill>
              <a:ln w="19050" cap="sq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pic>
            <p:nvPicPr>
              <p:cNvPr id="216" name="Picture 2"/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BEBA8EAE-BF5A-486C-A8C5-ECC9F3942E4B}">
                    <a14:imgProps xmlns:a14="http://schemas.microsoft.com/office/drawing/2010/main">
                      <a14:imgLayer r:embed="rId3">
                        <a14:imgEffect>
                          <a14:backgroundRemoval t="3096" b="100000" l="0" r="100000">
                            <a14:foregroundMark x1="49191" y1="79567" x2="49191" y2="79567"/>
                            <a14:foregroundMark x1="47573" y1="77709" x2="47573" y2="77709"/>
                            <a14:foregroundMark x1="48544" y1="73375" x2="48544" y2="73375"/>
                            <a14:foregroundMark x1="51780" y1="71517" x2="51780" y2="71517"/>
                            <a14:foregroundMark x1="53722" y1="71517" x2="53722" y2="71517"/>
                            <a14:foregroundMark x1="54693" y1="75232" x2="54693" y2="77090"/>
                            <a14:foregroundMark x1="55016" y1="78638" x2="54693" y2="81115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211476" y="1323947"/>
                <a:ext cx="533405" cy="215931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30" name="Rectangle 229"/>
              <p:cNvSpPr/>
              <p:nvPr/>
            </p:nvSpPr>
            <p:spPr>
              <a:xfrm rot="10800000">
                <a:off x="2801198" y="2220052"/>
                <a:ext cx="586526" cy="367095"/>
              </a:xfrm>
              <a:prstGeom prst="rect">
                <a:avLst/>
              </a:prstGeom>
              <a:solidFill>
                <a:srgbClr val="FFC000"/>
              </a:solidFill>
              <a:ln w="19050" cap="sq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FFFFFF"/>
                    </a:solidFill>
                  </a:rPr>
                  <a:t>5x ND</a:t>
                </a:r>
              </a:p>
              <a:p>
                <a:pPr algn="ctr"/>
                <a:r>
                  <a:rPr lang="en-US" sz="800" dirty="0">
                    <a:solidFill>
                      <a:srgbClr val="FFFFFF"/>
                    </a:solidFill>
                  </a:rPr>
                  <a:t>1x slot</a:t>
                </a:r>
              </a:p>
              <a:p>
                <a:pPr algn="ctr"/>
                <a:r>
                  <a:rPr lang="en-US" sz="800" dirty="0">
                    <a:solidFill>
                      <a:srgbClr val="FFFFFF"/>
                    </a:solidFill>
                  </a:rPr>
                  <a:t>3x spare</a:t>
                </a:r>
              </a:p>
            </p:txBody>
          </p:sp>
        </p:grpSp>
        <p:grpSp>
          <p:nvGrpSpPr>
            <p:cNvPr id="200" name="Group 199"/>
            <p:cNvGrpSpPr/>
            <p:nvPr/>
          </p:nvGrpSpPr>
          <p:grpSpPr>
            <a:xfrm rot="10800000">
              <a:off x="2846148" y="2601253"/>
              <a:ext cx="441708" cy="1710498"/>
              <a:chOff x="1465483" y="-270613"/>
              <a:chExt cx="514354" cy="1491535"/>
            </a:xfrm>
          </p:grpSpPr>
          <p:sp>
            <p:nvSpPr>
              <p:cNvPr id="202" name="Rectangle 201"/>
              <p:cNvSpPr/>
              <p:nvPr/>
            </p:nvSpPr>
            <p:spPr>
              <a:xfrm rot="10800000">
                <a:off x="1465483" y="-266609"/>
                <a:ext cx="514354" cy="1487531"/>
              </a:xfrm>
              <a:prstGeom prst="rect">
                <a:avLst/>
              </a:prstGeom>
              <a:solidFill>
                <a:schemeClr val="accent3"/>
              </a:solidFill>
              <a:ln w="9525" cap="sq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211" name="Rectangle 210"/>
              <p:cNvSpPr/>
              <p:nvPr/>
            </p:nvSpPr>
            <p:spPr>
              <a:xfrm>
                <a:off x="1623411" y="-270613"/>
                <a:ext cx="204769" cy="114300"/>
              </a:xfrm>
              <a:prstGeom prst="rect">
                <a:avLst/>
              </a:prstGeom>
              <a:solidFill>
                <a:schemeClr val="bg1"/>
              </a:solidFill>
              <a:ln w="9525" cap="sq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</p:grpSp>
      </p:grpSp>
      <p:cxnSp>
        <p:nvCxnSpPr>
          <p:cNvPr id="305" name="Straight Connector 304"/>
          <p:cNvCxnSpPr/>
          <p:nvPr/>
        </p:nvCxnSpPr>
        <p:spPr>
          <a:xfrm flipV="1">
            <a:off x="4562475" y="2268884"/>
            <a:ext cx="0" cy="469901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Group 55"/>
          <p:cNvGrpSpPr/>
          <p:nvPr/>
        </p:nvGrpSpPr>
        <p:grpSpPr>
          <a:xfrm>
            <a:off x="8071638" y="813446"/>
            <a:ext cx="1240457" cy="558299"/>
            <a:chOff x="7736680" y="999190"/>
            <a:chExt cx="1240457" cy="558299"/>
          </a:xfrm>
        </p:grpSpPr>
        <p:grpSp>
          <p:nvGrpSpPr>
            <p:cNvPr id="55" name="Group 54"/>
            <p:cNvGrpSpPr/>
            <p:nvPr/>
          </p:nvGrpSpPr>
          <p:grpSpPr>
            <a:xfrm>
              <a:off x="7736681" y="1099204"/>
              <a:ext cx="1140478" cy="458285"/>
              <a:chOff x="7736681" y="1099204"/>
              <a:chExt cx="1140478" cy="458285"/>
            </a:xfrm>
          </p:grpSpPr>
          <p:sp>
            <p:nvSpPr>
              <p:cNvPr id="53" name="Freeform 52"/>
              <p:cNvSpPr/>
              <p:nvPr/>
            </p:nvSpPr>
            <p:spPr>
              <a:xfrm>
                <a:off x="7848459" y="1196755"/>
                <a:ext cx="1028700" cy="360734"/>
              </a:xfrm>
              <a:custGeom>
                <a:avLst/>
                <a:gdLst>
                  <a:gd name="connsiteX0" fmla="*/ 0 w 1028700"/>
                  <a:gd name="connsiteY0" fmla="*/ 24846 h 360734"/>
                  <a:gd name="connsiteX1" fmla="*/ 400050 w 1028700"/>
                  <a:gd name="connsiteY1" fmla="*/ 31990 h 360734"/>
                  <a:gd name="connsiteX2" fmla="*/ 764381 w 1028700"/>
                  <a:gd name="connsiteY2" fmla="*/ 339171 h 360734"/>
                  <a:gd name="connsiteX3" fmla="*/ 1028700 w 1028700"/>
                  <a:gd name="connsiteY3" fmla="*/ 310596 h 360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28700" h="360734">
                    <a:moveTo>
                      <a:pt x="0" y="24846"/>
                    </a:moveTo>
                    <a:cubicBezTo>
                      <a:pt x="136326" y="2224"/>
                      <a:pt x="272653" y="-20397"/>
                      <a:pt x="400050" y="31990"/>
                    </a:cubicBezTo>
                    <a:cubicBezTo>
                      <a:pt x="527447" y="84377"/>
                      <a:pt x="659606" y="292737"/>
                      <a:pt x="764381" y="339171"/>
                    </a:cubicBezTo>
                    <a:cubicBezTo>
                      <a:pt x="869156" y="385605"/>
                      <a:pt x="948928" y="348100"/>
                      <a:pt x="1028700" y="310596"/>
                    </a:cubicBezTo>
                  </a:path>
                </a:pathLst>
              </a:custGeom>
              <a:noFill/>
              <a:ln w="63500" cap="sq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54" name="Rectangle 53"/>
              <p:cNvSpPr/>
              <p:nvPr/>
            </p:nvSpPr>
            <p:spPr>
              <a:xfrm>
                <a:off x="7736681" y="1099204"/>
                <a:ext cx="307182" cy="277918"/>
              </a:xfrm>
              <a:prstGeom prst="rect">
                <a:avLst/>
              </a:prstGeom>
              <a:solidFill>
                <a:schemeClr val="bg1"/>
              </a:solidFill>
              <a:ln w="19050" cap="sq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258" name="Group 257"/>
            <p:cNvGrpSpPr/>
            <p:nvPr/>
          </p:nvGrpSpPr>
          <p:grpSpPr>
            <a:xfrm>
              <a:off x="7736680" y="999190"/>
              <a:ext cx="1240457" cy="443997"/>
              <a:chOff x="7736681" y="1099204"/>
              <a:chExt cx="1140478" cy="443997"/>
            </a:xfrm>
          </p:grpSpPr>
          <p:sp>
            <p:nvSpPr>
              <p:cNvPr id="260" name="Freeform 259"/>
              <p:cNvSpPr/>
              <p:nvPr/>
            </p:nvSpPr>
            <p:spPr>
              <a:xfrm>
                <a:off x="7848459" y="1182467"/>
                <a:ext cx="1028700" cy="360734"/>
              </a:xfrm>
              <a:custGeom>
                <a:avLst/>
                <a:gdLst>
                  <a:gd name="connsiteX0" fmla="*/ 0 w 1028700"/>
                  <a:gd name="connsiteY0" fmla="*/ 24846 h 360734"/>
                  <a:gd name="connsiteX1" fmla="*/ 400050 w 1028700"/>
                  <a:gd name="connsiteY1" fmla="*/ 31990 h 360734"/>
                  <a:gd name="connsiteX2" fmla="*/ 764381 w 1028700"/>
                  <a:gd name="connsiteY2" fmla="*/ 339171 h 360734"/>
                  <a:gd name="connsiteX3" fmla="*/ 1028700 w 1028700"/>
                  <a:gd name="connsiteY3" fmla="*/ 310596 h 360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28700" h="360734">
                    <a:moveTo>
                      <a:pt x="0" y="24846"/>
                    </a:moveTo>
                    <a:cubicBezTo>
                      <a:pt x="136326" y="2224"/>
                      <a:pt x="272653" y="-20397"/>
                      <a:pt x="400050" y="31990"/>
                    </a:cubicBezTo>
                    <a:cubicBezTo>
                      <a:pt x="527447" y="84377"/>
                      <a:pt x="659606" y="292737"/>
                      <a:pt x="764381" y="339171"/>
                    </a:cubicBezTo>
                    <a:cubicBezTo>
                      <a:pt x="869156" y="385605"/>
                      <a:pt x="948928" y="348100"/>
                      <a:pt x="1028700" y="310596"/>
                    </a:cubicBezTo>
                  </a:path>
                </a:pathLst>
              </a:custGeom>
              <a:noFill/>
              <a:ln w="63500" cap="sq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273" name="Rectangle 272"/>
              <p:cNvSpPr/>
              <p:nvPr/>
            </p:nvSpPr>
            <p:spPr>
              <a:xfrm>
                <a:off x="7736681" y="1099204"/>
                <a:ext cx="307182" cy="277918"/>
              </a:xfrm>
              <a:prstGeom prst="rect">
                <a:avLst/>
              </a:prstGeom>
              <a:solidFill>
                <a:schemeClr val="bg1"/>
              </a:solidFill>
              <a:ln w="19050" cap="sq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</p:grpSp>
      </p:grp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>
              <a:solidFill>
                <a:srgbClr val="0F238C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urce Component Overview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 rot="10800000" flipV="1">
            <a:off x="213837" y="3114950"/>
            <a:ext cx="286862" cy="8388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Rectangle 7"/>
          <p:cNvSpPr/>
          <p:nvPr/>
        </p:nvSpPr>
        <p:spPr>
          <a:xfrm rot="10800000" flipV="1">
            <a:off x="193558" y="1657641"/>
            <a:ext cx="8783580" cy="306161"/>
          </a:xfrm>
          <a:prstGeom prst="rect">
            <a:avLst/>
          </a:prstGeom>
          <a:solidFill>
            <a:schemeClr val="tx2"/>
          </a:solidFill>
          <a:ln w="19050" cap="sq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71650"/>
            <a:r>
              <a:rPr lang="en-US" sz="1400" dirty="0">
                <a:solidFill>
                  <a:srgbClr val="FFFFFF"/>
                </a:solidFill>
              </a:rPr>
              <a:t>OPTICAL BASE FRAME</a:t>
            </a:r>
          </a:p>
        </p:txBody>
      </p:sp>
      <p:sp>
        <p:nvSpPr>
          <p:cNvPr id="292" name="Rectangle 291"/>
          <p:cNvSpPr/>
          <p:nvPr/>
        </p:nvSpPr>
        <p:spPr>
          <a:xfrm flipV="1">
            <a:off x="1198042" y="1592602"/>
            <a:ext cx="619308" cy="436240"/>
          </a:xfrm>
          <a:prstGeom prst="rect">
            <a:avLst/>
          </a:prstGeom>
          <a:solidFill>
            <a:schemeClr val="bg1"/>
          </a:solidFill>
          <a:ln w="19050" cap="sq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93" name="Rectangle 292"/>
          <p:cNvSpPr/>
          <p:nvPr/>
        </p:nvSpPr>
        <p:spPr>
          <a:xfrm rot="10800000" flipV="1">
            <a:off x="1128423" y="1435880"/>
            <a:ext cx="752455" cy="212868"/>
          </a:xfrm>
          <a:prstGeom prst="rect">
            <a:avLst/>
          </a:prstGeom>
          <a:solidFill>
            <a:schemeClr val="accent3"/>
          </a:solidFill>
          <a:ln w="9525" cap="sq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41" name="Group 40"/>
          <p:cNvGrpSpPr/>
          <p:nvPr/>
        </p:nvGrpSpPr>
        <p:grpSpPr>
          <a:xfrm flipV="1">
            <a:off x="2143411" y="2746134"/>
            <a:ext cx="2356975" cy="2119549"/>
            <a:chOff x="3160047" y="1321557"/>
            <a:chExt cx="2375229" cy="2181729"/>
          </a:xfrm>
        </p:grpSpPr>
        <p:grpSp>
          <p:nvGrpSpPr>
            <p:cNvPr id="40" name="Group 39"/>
            <p:cNvGrpSpPr/>
            <p:nvPr/>
          </p:nvGrpSpPr>
          <p:grpSpPr>
            <a:xfrm>
              <a:off x="3160047" y="1321558"/>
              <a:ext cx="1133202" cy="2181728"/>
              <a:chOff x="3160047" y="1321558"/>
              <a:chExt cx="1133202" cy="2181728"/>
            </a:xfrm>
          </p:grpSpPr>
          <p:sp>
            <p:nvSpPr>
              <p:cNvPr id="127" name="Rectangle 126"/>
              <p:cNvSpPr/>
              <p:nvPr/>
            </p:nvSpPr>
            <p:spPr>
              <a:xfrm>
                <a:off x="3676686" y="2401435"/>
                <a:ext cx="169501" cy="45719"/>
              </a:xfrm>
              <a:prstGeom prst="rect">
                <a:avLst/>
              </a:prstGeom>
              <a:solidFill>
                <a:srgbClr val="FFC000"/>
              </a:solidFill>
              <a:ln w="19050" cap="sq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129" name="Rectangle 128"/>
              <p:cNvSpPr/>
              <p:nvPr/>
            </p:nvSpPr>
            <p:spPr>
              <a:xfrm rot="10800000">
                <a:off x="3160047" y="2240746"/>
                <a:ext cx="548687" cy="367095"/>
              </a:xfrm>
              <a:prstGeom prst="rect">
                <a:avLst/>
              </a:prstGeom>
              <a:solidFill>
                <a:srgbClr val="FFC000"/>
              </a:solidFill>
              <a:ln w="19050" cap="sq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dirty="0">
                    <a:solidFill>
                      <a:srgbClr val="FFFFFF"/>
                    </a:solidFill>
                  </a:rPr>
                  <a:t>LWP</a:t>
                </a:r>
              </a:p>
            </p:txBody>
          </p:sp>
          <p:sp>
            <p:nvSpPr>
              <p:cNvPr id="130" name="Rectangle 129"/>
              <p:cNvSpPr/>
              <p:nvPr/>
            </p:nvSpPr>
            <p:spPr>
              <a:xfrm rot="10800000">
                <a:off x="3207837" y="1321558"/>
                <a:ext cx="441688" cy="918515"/>
              </a:xfrm>
              <a:prstGeom prst="rect">
                <a:avLst/>
              </a:prstGeom>
              <a:solidFill>
                <a:srgbClr val="92D050"/>
              </a:solidFill>
              <a:ln w="9525" cap="sq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pic>
            <p:nvPicPr>
              <p:cNvPr id="103" name="Picture 3"/>
              <p:cNvPicPr>
                <a:picLocks noChangeArrowheads="1"/>
              </p:cNvPicPr>
              <p:nvPr/>
            </p:nvPicPr>
            <p:blipFill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backgroundRemoval t="2727" b="97576" l="3040" r="97872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762897" y="1345302"/>
                <a:ext cx="530352" cy="215798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39" name="Group 38"/>
            <p:cNvGrpSpPr/>
            <p:nvPr/>
          </p:nvGrpSpPr>
          <p:grpSpPr>
            <a:xfrm>
              <a:off x="4402499" y="1321557"/>
              <a:ext cx="1132777" cy="2180396"/>
              <a:chOff x="4402499" y="1321557"/>
              <a:chExt cx="1132777" cy="2180396"/>
            </a:xfrm>
          </p:grpSpPr>
          <p:sp>
            <p:nvSpPr>
              <p:cNvPr id="136" name="Rectangle 135"/>
              <p:cNvSpPr/>
              <p:nvPr/>
            </p:nvSpPr>
            <p:spPr>
              <a:xfrm>
                <a:off x="4855850" y="2400102"/>
                <a:ext cx="169501" cy="45719"/>
              </a:xfrm>
              <a:prstGeom prst="rect">
                <a:avLst/>
              </a:prstGeom>
              <a:solidFill>
                <a:srgbClr val="FFC000"/>
              </a:solidFill>
              <a:ln w="19050" cap="sq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137" name="Rectangle 136"/>
              <p:cNvSpPr/>
              <p:nvPr/>
            </p:nvSpPr>
            <p:spPr>
              <a:xfrm rot="10800000">
                <a:off x="4986589" y="2239413"/>
                <a:ext cx="548687" cy="367095"/>
              </a:xfrm>
              <a:prstGeom prst="rect">
                <a:avLst/>
              </a:prstGeom>
              <a:solidFill>
                <a:srgbClr val="FFC000"/>
              </a:solidFill>
              <a:ln w="19050" cap="sq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dirty="0">
                    <a:solidFill>
                      <a:srgbClr val="FFFFFF"/>
                    </a:solidFill>
                  </a:rPr>
                  <a:t>SWP</a:t>
                </a:r>
              </a:p>
            </p:txBody>
          </p:sp>
          <p:sp>
            <p:nvSpPr>
              <p:cNvPr id="138" name="Rectangle 137"/>
              <p:cNvSpPr/>
              <p:nvPr/>
            </p:nvSpPr>
            <p:spPr>
              <a:xfrm rot="10800000">
                <a:off x="5040062" y="1321557"/>
                <a:ext cx="441688" cy="918515"/>
              </a:xfrm>
              <a:prstGeom prst="rect">
                <a:avLst/>
              </a:prstGeom>
              <a:solidFill>
                <a:srgbClr val="92D050"/>
              </a:solidFill>
              <a:ln w="9525" cap="sq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pic>
            <p:nvPicPr>
              <p:cNvPr id="132" name="Picture 3"/>
              <p:cNvPicPr>
                <a:picLocks noChangeArrowheads="1"/>
              </p:cNvPicPr>
              <p:nvPr/>
            </p:nvPicPr>
            <p:blipFill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backgroundRemoval t="2727" b="97576" l="3040" r="97872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02499" y="1343969"/>
                <a:ext cx="530352" cy="215798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grpSp>
        <p:nvGrpSpPr>
          <p:cNvPr id="43" name="Group 42"/>
          <p:cNvGrpSpPr/>
          <p:nvPr/>
        </p:nvGrpSpPr>
        <p:grpSpPr>
          <a:xfrm rot="10800000" flipV="1">
            <a:off x="4114093" y="2893161"/>
            <a:ext cx="321952" cy="624614"/>
            <a:chOff x="4320177" y="1114425"/>
            <a:chExt cx="324445" cy="642938"/>
          </a:xfrm>
        </p:grpSpPr>
        <p:sp>
          <p:nvSpPr>
            <p:cNvPr id="44" name="Oval 43"/>
            <p:cNvSpPr/>
            <p:nvPr/>
          </p:nvSpPr>
          <p:spPr>
            <a:xfrm>
              <a:off x="4320177" y="1114425"/>
              <a:ext cx="120848" cy="642938"/>
            </a:xfrm>
            <a:prstGeom prst="ellipse">
              <a:avLst/>
            </a:prstGeom>
            <a:solidFill>
              <a:schemeClr val="bg2"/>
            </a:solidFill>
            <a:ln w="9525" cap="sq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45" name="Oval 44"/>
            <p:cNvSpPr/>
            <p:nvPr/>
          </p:nvSpPr>
          <p:spPr>
            <a:xfrm>
              <a:off x="4441025" y="1114425"/>
              <a:ext cx="203597" cy="642938"/>
            </a:xfrm>
            <a:prstGeom prst="ellipse">
              <a:avLst/>
            </a:prstGeom>
            <a:solidFill>
              <a:schemeClr val="bg2"/>
            </a:solidFill>
            <a:ln w="9525" cap="sq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46" name="Rectangle 45"/>
            <p:cNvSpPr/>
            <p:nvPr/>
          </p:nvSpPr>
          <p:spPr>
            <a:xfrm>
              <a:off x="4379119" y="1114425"/>
              <a:ext cx="164306" cy="642938"/>
            </a:xfrm>
            <a:prstGeom prst="rect">
              <a:avLst/>
            </a:prstGeom>
            <a:solidFill>
              <a:schemeClr val="bg2"/>
            </a:solidFill>
            <a:ln w="9525" cap="sq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cxnSp>
        <p:nvCxnSpPr>
          <p:cNvPr id="82" name="Straight Connector 81"/>
          <p:cNvCxnSpPr/>
          <p:nvPr/>
        </p:nvCxnSpPr>
        <p:spPr>
          <a:xfrm flipV="1">
            <a:off x="1740273" y="3434653"/>
            <a:ext cx="725898" cy="1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/>
          <p:cNvCxnSpPr>
            <a:stCxn id="20" idx="7"/>
            <a:endCxn id="45" idx="7"/>
          </p:cNvCxnSpPr>
          <p:nvPr/>
        </p:nvCxnSpPr>
        <p:spPr>
          <a:xfrm flipV="1">
            <a:off x="2492826" y="2984633"/>
            <a:ext cx="1650854" cy="45002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/>
          <p:cNvCxnSpPr>
            <a:stCxn id="45" idx="5"/>
            <a:endCxn id="20" idx="5"/>
          </p:cNvCxnSpPr>
          <p:nvPr/>
        </p:nvCxnSpPr>
        <p:spPr>
          <a:xfrm flipH="1" flipV="1">
            <a:off x="2492826" y="2992984"/>
            <a:ext cx="1650854" cy="433318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/>
          <p:cNvCxnSpPr/>
          <p:nvPr/>
        </p:nvCxnSpPr>
        <p:spPr>
          <a:xfrm flipH="1">
            <a:off x="1258013" y="2999925"/>
            <a:ext cx="1222827" cy="1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/>
          <p:cNvCxnSpPr>
            <a:stCxn id="203" idx="0"/>
            <a:endCxn id="44" idx="3"/>
          </p:cNvCxnSpPr>
          <p:nvPr/>
        </p:nvCxnSpPr>
        <p:spPr>
          <a:xfrm flipH="1" flipV="1">
            <a:off x="4418483" y="3426302"/>
            <a:ext cx="2891686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/>
          <p:cNvCxnSpPr/>
          <p:nvPr/>
        </p:nvCxnSpPr>
        <p:spPr>
          <a:xfrm flipV="1">
            <a:off x="4418483" y="2987528"/>
            <a:ext cx="3403676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 rot="10800000" flipV="1">
            <a:off x="1612334" y="630332"/>
            <a:ext cx="518563" cy="23920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1600" dirty="0">
                <a:solidFill>
                  <a:srgbClr val="0F238C"/>
                </a:solidFill>
                <a:latin typeface="Arial"/>
              </a:rPr>
              <a:t>LPPS</a:t>
            </a:r>
          </a:p>
        </p:txBody>
      </p:sp>
      <p:sp>
        <p:nvSpPr>
          <p:cNvPr id="157" name="TextBox 156"/>
          <p:cNvSpPr txBox="1"/>
          <p:nvPr/>
        </p:nvSpPr>
        <p:spPr>
          <a:xfrm rot="10800000" flipV="1">
            <a:off x="7310169" y="552146"/>
            <a:ext cx="78386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200" dirty="0">
                <a:solidFill>
                  <a:srgbClr val="0F238C"/>
                </a:solidFill>
                <a:latin typeface="Arial"/>
              </a:rPr>
              <a:t>Mixing fiber</a:t>
            </a:r>
          </a:p>
        </p:txBody>
      </p:sp>
      <p:grpSp>
        <p:nvGrpSpPr>
          <p:cNvPr id="18" name="Group 17"/>
          <p:cNvGrpSpPr/>
          <p:nvPr/>
        </p:nvGrpSpPr>
        <p:grpSpPr>
          <a:xfrm flipV="1">
            <a:off x="2200461" y="2901512"/>
            <a:ext cx="321952" cy="624614"/>
            <a:chOff x="4320177" y="1114425"/>
            <a:chExt cx="324445" cy="642938"/>
          </a:xfrm>
        </p:grpSpPr>
        <p:sp>
          <p:nvSpPr>
            <p:cNvPr id="19" name="Oval 18"/>
            <p:cNvSpPr/>
            <p:nvPr/>
          </p:nvSpPr>
          <p:spPr>
            <a:xfrm>
              <a:off x="4320177" y="1114425"/>
              <a:ext cx="120848" cy="642938"/>
            </a:xfrm>
            <a:prstGeom prst="ellipse">
              <a:avLst/>
            </a:prstGeom>
            <a:solidFill>
              <a:schemeClr val="bg2"/>
            </a:solidFill>
            <a:ln w="9525" cap="sq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0" name="Oval 19"/>
            <p:cNvSpPr/>
            <p:nvPr/>
          </p:nvSpPr>
          <p:spPr>
            <a:xfrm>
              <a:off x="4441025" y="1114425"/>
              <a:ext cx="203597" cy="642938"/>
            </a:xfrm>
            <a:prstGeom prst="ellipse">
              <a:avLst/>
            </a:prstGeom>
            <a:solidFill>
              <a:schemeClr val="bg2"/>
            </a:solidFill>
            <a:ln w="9525" cap="sq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4379119" y="1114425"/>
              <a:ext cx="164306" cy="642938"/>
            </a:xfrm>
            <a:prstGeom prst="rect">
              <a:avLst/>
            </a:prstGeom>
            <a:solidFill>
              <a:schemeClr val="bg2"/>
            </a:solidFill>
            <a:ln w="9525" cap="sq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cxnSp>
        <p:nvCxnSpPr>
          <p:cNvPr id="62" name="Straight Connector 61"/>
          <p:cNvCxnSpPr>
            <a:endCxn id="203" idx="3"/>
          </p:cNvCxnSpPr>
          <p:nvPr/>
        </p:nvCxnSpPr>
        <p:spPr>
          <a:xfrm flipV="1">
            <a:off x="1469999" y="3200622"/>
            <a:ext cx="6065965" cy="0"/>
          </a:xfrm>
          <a:prstGeom prst="line">
            <a:avLst/>
          </a:prstGeom>
          <a:ln w="9525">
            <a:solidFill>
              <a:schemeClr val="tx1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9" name="Group 218"/>
          <p:cNvGrpSpPr/>
          <p:nvPr/>
        </p:nvGrpSpPr>
        <p:grpSpPr>
          <a:xfrm flipV="1">
            <a:off x="7142597" y="1258379"/>
            <a:ext cx="752455" cy="2156004"/>
            <a:chOff x="6869471" y="2120489"/>
            <a:chExt cx="758283" cy="2219253"/>
          </a:xfrm>
        </p:grpSpPr>
        <p:sp>
          <p:nvSpPr>
            <p:cNvPr id="220" name="Rectangle 219"/>
            <p:cNvSpPr/>
            <p:nvPr/>
          </p:nvSpPr>
          <p:spPr>
            <a:xfrm>
              <a:off x="6929374" y="3582399"/>
              <a:ext cx="624104" cy="449038"/>
            </a:xfrm>
            <a:prstGeom prst="rect">
              <a:avLst/>
            </a:prstGeom>
            <a:solidFill>
              <a:schemeClr val="bg1"/>
            </a:solidFill>
            <a:ln w="19050" cap="sq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grpSp>
          <p:nvGrpSpPr>
            <p:cNvPr id="221" name="Group 220"/>
            <p:cNvGrpSpPr/>
            <p:nvPr/>
          </p:nvGrpSpPr>
          <p:grpSpPr>
            <a:xfrm>
              <a:off x="6869471" y="2120489"/>
              <a:ext cx="758283" cy="2219253"/>
              <a:chOff x="5543797" y="2119366"/>
              <a:chExt cx="758283" cy="2219253"/>
            </a:xfrm>
          </p:grpSpPr>
          <p:grpSp>
            <p:nvGrpSpPr>
              <p:cNvPr id="222" name="Group 221"/>
              <p:cNvGrpSpPr/>
              <p:nvPr/>
            </p:nvGrpSpPr>
            <p:grpSpPr>
              <a:xfrm rot="5400000">
                <a:off x="5331461" y="2486415"/>
                <a:ext cx="1188720" cy="454622"/>
                <a:chOff x="722036" y="2831741"/>
                <a:chExt cx="5960829" cy="454622"/>
              </a:xfrm>
            </p:grpSpPr>
            <p:cxnSp>
              <p:nvCxnSpPr>
                <p:cNvPr id="236" name="Straight Connector 235"/>
                <p:cNvCxnSpPr/>
                <p:nvPr/>
              </p:nvCxnSpPr>
              <p:spPr>
                <a:xfrm rot="16200000" flipH="1">
                  <a:off x="3702451" y="305948"/>
                  <a:ext cx="0" cy="5960829"/>
                </a:xfrm>
                <a:prstGeom prst="line">
                  <a:avLst/>
                </a:prstGeom>
                <a:ln w="952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7" name="Straight Connector 236"/>
                <p:cNvCxnSpPr/>
                <p:nvPr/>
              </p:nvCxnSpPr>
              <p:spPr>
                <a:xfrm flipH="1">
                  <a:off x="2978457" y="2831741"/>
                  <a:ext cx="3668209" cy="0"/>
                </a:xfrm>
                <a:prstGeom prst="line">
                  <a:avLst/>
                </a:prstGeom>
                <a:ln w="952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23" name="Group 222"/>
              <p:cNvGrpSpPr/>
              <p:nvPr/>
            </p:nvGrpSpPr>
            <p:grpSpPr>
              <a:xfrm rot="10800000">
                <a:off x="5543797" y="2339398"/>
                <a:ext cx="758283" cy="1999221"/>
                <a:chOff x="5869839" y="1877446"/>
                <a:chExt cx="758283" cy="1999221"/>
              </a:xfrm>
            </p:grpSpPr>
            <p:sp>
              <p:nvSpPr>
                <p:cNvPr id="226" name="Rectangle 225"/>
                <p:cNvSpPr/>
                <p:nvPr/>
              </p:nvSpPr>
              <p:spPr>
                <a:xfrm>
                  <a:off x="5869839" y="2069707"/>
                  <a:ext cx="758283" cy="219113"/>
                </a:xfrm>
                <a:prstGeom prst="rect">
                  <a:avLst/>
                </a:prstGeom>
                <a:solidFill>
                  <a:schemeClr val="accent3"/>
                </a:solidFill>
                <a:ln w="9525" cap="sq">
                  <a:solidFill>
                    <a:schemeClr val="tx1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227" name="Rectangle 226"/>
                <p:cNvSpPr/>
                <p:nvPr/>
              </p:nvSpPr>
              <p:spPr>
                <a:xfrm>
                  <a:off x="5869839" y="2604974"/>
                  <a:ext cx="758283" cy="219113"/>
                </a:xfrm>
                <a:prstGeom prst="rect">
                  <a:avLst/>
                </a:prstGeom>
                <a:solidFill>
                  <a:schemeClr val="accent3"/>
                </a:solidFill>
                <a:ln w="9525" cap="sq">
                  <a:solidFill>
                    <a:schemeClr val="tx1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grpSp>
              <p:nvGrpSpPr>
                <p:cNvPr id="228" name="Group 227"/>
                <p:cNvGrpSpPr/>
                <p:nvPr/>
              </p:nvGrpSpPr>
              <p:grpSpPr>
                <a:xfrm rot="16200000">
                  <a:off x="6084529" y="2444604"/>
                  <a:ext cx="324445" cy="642938"/>
                  <a:chOff x="4320177" y="1114425"/>
                  <a:chExt cx="324445" cy="642938"/>
                </a:xfrm>
              </p:grpSpPr>
              <p:sp>
                <p:nvSpPr>
                  <p:cNvPr id="233" name="Oval 232"/>
                  <p:cNvSpPr/>
                  <p:nvPr/>
                </p:nvSpPr>
                <p:spPr>
                  <a:xfrm>
                    <a:off x="4320177" y="1114425"/>
                    <a:ext cx="120848" cy="642938"/>
                  </a:xfrm>
                  <a:prstGeom prst="ellipse">
                    <a:avLst/>
                  </a:prstGeom>
                  <a:solidFill>
                    <a:schemeClr val="bg2"/>
                  </a:solidFill>
                  <a:ln w="9525" cap="sq">
                    <a:solidFill>
                      <a:schemeClr val="tx1"/>
                    </a:solidFill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en-US">
                      <a:solidFill>
                        <a:srgbClr val="FFFFFF"/>
                      </a:solidFill>
                    </a:endParaRPr>
                  </a:p>
                </p:txBody>
              </p:sp>
              <p:sp>
                <p:nvSpPr>
                  <p:cNvPr id="234" name="Oval 233"/>
                  <p:cNvSpPr/>
                  <p:nvPr/>
                </p:nvSpPr>
                <p:spPr>
                  <a:xfrm>
                    <a:off x="4441025" y="1114425"/>
                    <a:ext cx="203597" cy="642938"/>
                  </a:xfrm>
                  <a:prstGeom prst="ellipse">
                    <a:avLst/>
                  </a:prstGeom>
                  <a:solidFill>
                    <a:schemeClr val="bg2"/>
                  </a:solidFill>
                  <a:ln w="9525" cap="sq">
                    <a:solidFill>
                      <a:schemeClr val="tx1"/>
                    </a:solidFill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en-US">
                      <a:solidFill>
                        <a:srgbClr val="FFFFFF"/>
                      </a:solidFill>
                    </a:endParaRPr>
                  </a:p>
                </p:txBody>
              </p:sp>
              <p:sp>
                <p:nvSpPr>
                  <p:cNvPr id="235" name="Rectangle 234"/>
                  <p:cNvSpPr/>
                  <p:nvPr/>
                </p:nvSpPr>
                <p:spPr>
                  <a:xfrm>
                    <a:off x="4379119" y="1114425"/>
                    <a:ext cx="164306" cy="642938"/>
                  </a:xfrm>
                  <a:prstGeom prst="rect">
                    <a:avLst/>
                  </a:prstGeom>
                  <a:solidFill>
                    <a:schemeClr val="bg2"/>
                  </a:solidFill>
                  <a:ln w="9525" cap="sq">
                    <a:solidFill>
                      <a:schemeClr val="tx1"/>
                    </a:solidFill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en-US">
                      <a:solidFill>
                        <a:srgbClr val="FFFFFF"/>
                      </a:solidFill>
                    </a:endParaRPr>
                  </a:p>
                </p:txBody>
              </p:sp>
            </p:grpSp>
            <p:cxnSp>
              <p:nvCxnSpPr>
                <p:cNvPr id="229" name="Straight Connector 228"/>
                <p:cNvCxnSpPr>
                  <a:stCxn id="231" idx="3"/>
                  <a:endCxn id="203" idx="3"/>
                </p:cNvCxnSpPr>
                <p:nvPr/>
              </p:nvCxnSpPr>
              <p:spPr>
                <a:xfrm rot="10800000" flipV="1">
                  <a:off x="6225309" y="2184628"/>
                  <a:ext cx="21442" cy="1692039"/>
                </a:xfrm>
                <a:prstGeom prst="line">
                  <a:avLst/>
                </a:prstGeom>
                <a:ln w="9525">
                  <a:solidFill>
                    <a:schemeClr val="tx1"/>
                  </a:solidFill>
                  <a:prstDash val="dash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31" name="Rectangle 230"/>
                <p:cNvSpPr/>
                <p:nvPr/>
              </p:nvSpPr>
              <p:spPr>
                <a:xfrm rot="5400000">
                  <a:off x="6093160" y="1895305"/>
                  <a:ext cx="307182" cy="271463"/>
                </a:xfrm>
                <a:prstGeom prst="rect">
                  <a:avLst/>
                </a:prstGeom>
                <a:solidFill>
                  <a:schemeClr val="tx1"/>
                </a:solidFill>
                <a:ln w="19050" cap="sq">
                  <a:solidFill>
                    <a:schemeClr val="tx1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  <p:cxnSp>
            <p:nvCxnSpPr>
              <p:cNvPr id="224" name="Straight Connector 223"/>
              <p:cNvCxnSpPr>
                <a:stCxn id="234" idx="5"/>
                <a:endCxn id="231" idx="3"/>
              </p:cNvCxnSpPr>
              <p:nvPr/>
            </p:nvCxnSpPr>
            <p:spPr>
              <a:xfrm>
                <a:off x="5697855" y="3582399"/>
                <a:ext cx="227314" cy="44904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5" name="Straight Connector 224"/>
              <p:cNvCxnSpPr>
                <a:stCxn id="231" idx="3"/>
                <a:endCxn id="234" idx="7"/>
              </p:cNvCxnSpPr>
              <p:nvPr/>
            </p:nvCxnSpPr>
            <p:spPr>
              <a:xfrm flipV="1">
                <a:off x="5925169" y="3582399"/>
                <a:ext cx="227312" cy="44904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03" name="Rectangle 202"/>
          <p:cNvSpPr/>
          <p:nvPr/>
        </p:nvSpPr>
        <p:spPr>
          <a:xfrm rot="2700000" flipH="1" flipV="1">
            <a:off x="7523454" y="2868792"/>
            <a:ext cx="85421" cy="724063"/>
          </a:xfrm>
          <a:prstGeom prst="rect">
            <a:avLst/>
          </a:prstGeom>
          <a:solidFill>
            <a:schemeClr val="bg2"/>
          </a:solidFill>
          <a:ln w="9525" cap="sq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85651" y="645304"/>
            <a:ext cx="637997" cy="2946525"/>
            <a:chOff x="1185651" y="645304"/>
            <a:chExt cx="637997" cy="2946525"/>
          </a:xfrm>
        </p:grpSpPr>
        <p:sp>
          <p:nvSpPr>
            <p:cNvPr id="295" name="Freeform 294"/>
            <p:cNvSpPr/>
            <p:nvPr/>
          </p:nvSpPr>
          <p:spPr>
            <a:xfrm rot="16200000" flipV="1">
              <a:off x="1140066" y="849057"/>
              <a:ext cx="610733" cy="203228"/>
            </a:xfrm>
            <a:custGeom>
              <a:avLst/>
              <a:gdLst>
                <a:gd name="connsiteX0" fmla="*/ 857250 w 857250"/>
                <a:gd name="connsiteY0" fmla="*/ 33168 h 204802"/>
                <a:gd name="connsiteX1" fmla="*/ 471487 w 857250"/>
                <a:gd name="connsiteY1" fmla="*/ 204618 h 204802"/>
                <a:gd name="connsiteX2" fmla="*/ 214312 w 857250"/>
                <a:gd name="connsiteY2" fmla="*/ 4593 h 204802"/>
                <a:gd name="connsiteX3" fmla="*/ 0 w 857250"/>
                <a:gd name="connsiteY3" fmla="*/ 54600 h 204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7250" h="204802">
                  <a:moveTo>
                    <a:pt x="857250" y="33168"/>
                  </a:moveTo>
                  <a:cubicBezTo>
                    <a:pt x="717946" y="121274"/>
                    <a:pt x="578643" y="209381"/>
                    <a:pt x="471487" y="204618"/>
                  </a:cubicBezTo>
                  <a:cubicBezTo>
                    <a:pt x="364331" y="199856"/>
                    <a:pt x="292893" y="29596"/>
                    <a:pt x="214312" y="4593"/>
                  </a:cubicBezTo>
                  <a:cubicBezTo>
                    <a:pt x="135731" y="-20410"/>
                    <a:pt x="21431" y="65315"/>
                    <a:pt x="0" y="54600"/>
                  </a:cubicBezTo>
                </a:path>
              </a:pathLst>
            </a:custGeom>
            <a:noFill/>
            <a:ln w="63500" cap="sq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grpSp>
          <p:nvGrpSpPr>
            <p:cNvPr id="204" name="Group 203"/>
            <p:cNvGrpSpPr/>
            <p:nvPr/>
          </p:nvGrpSpPr>
          <p:grpSpPr>
            <a:xfrm flipV="1">
              <a:off x="1185651" y="1441803"/>
              <a:ext cx="637997" cy="1757793"/>
              <a:chOff x="5603698" y="2345741"/>
              <a:chExt cx="642938" cy="1809360"/>
            </a:xfrm>
          </p:grpSpPr>
          <p:grpSp>
            <p:nvGrpSpPr>
              <p:cNvPr id="210" name="Group 209"/>
              <p:cNvGrpSpPr/>
              <p:nvPr/>
            </p:nvGrpSpPr>
            <p:grpSpPr>
              <a:xfrm rot="10800000">
                <a:off x="5603698" y="2345741"/>
                <a:ext cx="642938" cy="1809360"/>
                <a:chOff x="5925283" y="2060964"/>
                <a:chExt cx="642938" cy="1809360"/>
              </a:xfrm>
            </p:grpSpPr>
            <p:grpSp>
              <p:nvGrpSpPr>
                <p:cNvPr id="212" name="Group 211"/>
                <p:cNvGrpSpPr/>
                <p:nvPr/>
              </p:nvGrpSpPr>
              <p:grpSpPr>
                <a:xfrm rot="16200000">
                  <a:off x="6084529" y="2444604"/>
                  <a:ext cx="324445" cy="642938"/>
                  <a:chOff x="4320177" y="1114425"/>
                  <a:chExt cx="324445" cy="642938"/>
                </a:xfrm>
              </p:grpSpPr>
              <p:sp>
                <p:nvSpPr>
                  <p:cNvPr id="217" name="Oval 216"/>
                  <p:cNvSpPr/>
                  <p:nvPr/>
                </p:nvSpPr>
                <p:spPr>
                  <a:xfrm>
                    <a:off x="4320177" y="1114425"/>
                    <a:ext cx="120848" cy="642938"/>
                  </a:xfrm>
                  <a:prstGeom prst="ellipse">
                    <a:avLst/>
                  </a:prstGeom>
                  <a:solidFill>
                    <a:schemeClr val="bg2"/>
                  </a:solidFill>
                  <a:ln w="9525" cap="sq">
                    <a:solidFill>
                      <a:schemeClr val="tx1"/>
                    </a:solidFill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en-US">
                      <a:solidFill>
                        <a:srgbClr val="FFFFFF"/>
                      </a:solidFill>
                    </a:endParaRPr>
                  </a:p>
                </p:txBody>
              </p:sp>
              <p:sp>
                <p:nvSpPr>
                  <p:cNvPr id="218" name="Oval 217"/>
                  <p:cNvSpPr/>
                  <p:nvPr/>
                </p:nvSpPr>
                <p:spPr>
                  <a:xfrm>
                    <a:off x="4441025" y="1114425"/>
                    <a:ext cx="203597" cy="642938"/>
                  </a:xfrm>
                  <a:prstGeom prst="ellipse">
                    <a:avLst/>
                  </a:prstGeom>
                  <a:solidFill>
                    <a:schemeClr val="bg2"/>
                  </a:solidFill>
                  <a:ln w="9525" cap="sq">
                    <a:solidFill>
                      <a:schemeClr val="tx1"/>
                    </a:solidFill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en-US">
                      <a:solidFill>
                        <a:srgbClr val="FFFFFF"/>
                      </a:solidFill>
                    </a:endParaRPr>
                  </a:p>
                </p:txBody>
              </p:sp>
              <p:sp>
                <p:nvSpPr>
                  <p:cNvPr id="259" name="Rectangle 258"/>
                  <p:cNvSpPr/>
                  <p:nvPr/>
                </p:nvSpPr>
                <p:spPr>
                  <a:xfrm>
                    <a:off x="4379119" y="1114425"/>
                    <a:ext cx="164306" cy="642938"/>
                  </a:xfrm>
                  <a:prstGeom prst="rect">
                    <a:avLst/>
                  </a:prstGeom>
                  <a:solidFill>
                    <a:schemeClr val="bg2"/>
                  </a:solidFill>
                  <a:ln w="9525" cap="sq">
                    <a:solidFill>
                      <a:schemeClr val="tx1"/>
                    </a:solidFill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en-US">
                      <a:solidFill>
                        <a:srgbClr val="FFFFFF"/>
                      </a:solidFill>
                    </a:endParaRPr>
                  </a:p>
                </p:txBody>
              </p:sp>
            </p:grpSp>
            <p:cxnSp>
              <p:nvCxnSpPr>
                <p:cNvPr id="213" name="Straight Connector 212"/>
                <p:cNvCxnSpPr>
                  <a:endCxn id="262" idx="1"/>
                </p:cNvCxnSpPr>
                <p:nvPr/>
              </p:nvCxnSpPr>
              <p:spPr>
                <a:xfrm rot="10800000" flipH="1" flipV="1">
                  <a:off x="6246731" y="2060964"/>
                  <a:ext cx="4627" cy="1809360"/>
                </a:xfrm>
                <a:prstGeom prst="line">
                  <a:avLst/>
                </a:prstGeom>
                <a:ln w="9525">
                  <a:solidFill>
                    <a:schemeClr val="tx1"/>
                  </a:solidFill>
                  <a:prstDash val="dash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207" name="Straight Connector 206"/>
              <p:cNvCxnSpPr>
                <a:stCxn id="218" idx="5"/>
              </p:cNvCxnSpPr>
              <p:nvPr/>
            </p:nvCxnSpPr>
            <p:spPr>
              <a:xfrm>
                <a:off x="5697855" y="3582399"/>
                <a:ext cx="227314" cy="44904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8" name="Straight Connector 207"/>
              <p:cNvCxnSpPr>
                <a:endCxn id="218" idx="7"/>
              </p:cNvCxnSpPr>
              <p:nvPr/>
            </p:nvCxnSpPr>
            <p:spPr>
              <a:xfrm flipV="1">
                <a:off x="5925169" y="3582399"/>
                <a:ext cx="227312" cy="44904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94" name="Rectangle 293"/>
            <p:cNvSpPr/>
            <p:nvPr/>
          </p:nvSpPr>
          <p:spPr>
            <a:xfrm rot="5400000" flipV="1">
              <a:off x="1357651" y="1263624"/>
              <a:ext cx="298427" cy="269377"/>
            </a:xfrm>
            <a:prstGeom prst="rect">
              <a:avLst/>
            </a:prstGeom>
            <a:solidFill>
              <a:srgbClr val="C00000"/>
            </a:solidFill>
            <a:ln w="19050" cap="sq">
              <a:solidFill>
                <a:srgbClr val="C0000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262" name="Rectangle 261"/>
            <p:cNvSpPr/>
            <p:nvPr/>
          </p:nvSpPr>
          <p:spPr>
            <a:xfrm rot="18900000" flipH="1">
              <a:off x="1427167" y="2867766"/>
              <a:ext cx="85421" cy="724063"/>
            </a:xfrm>
            <a:prstGeom prst="rect">
              <a:avLst/>
            </a:prstGeom>
            <a:solidFill>
              <a:schemeClr val="bg2"/>
            </a:solidFill>
            <a:ln w="9525" cap="sq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cxnSp>
        <p:nvCxnSpPr>
          <p:cNvPr id="174" name="Straight Connector 173"/>
          <p:cNvCxnSpPr/>
          <p:nvPr/>
        </p:nvCxnSpPr>
        <p:spPr>
          <a:xfrm flipH="1" flipV="1">
            <a:off x="1729855" y="2266554"/>
            <a:ext cx="0" cy="1154841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Straight Connector 182"/>
          <p:cNvCxnSpPr/>
          <p:nvPr/>
        </p:nvCxnSpPr>
        <p:spPr>
          <a:xfrm rot="16200000" flipH="1" flipV="1">
            <a:off x="925144" y="2629298"/>
            <a:ext cx="710672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Rectangle 133"/>
          <p:cNvSpPr/>
          <p:nvPr/>
        </p:nvSpPr>
        <p:spPr>
          <a:xfrm flipV="1">
            <a:off x="607068" y="3233379"/>
            <a:ext cx="300913" cy="1215871"/>
          </a:xfrm>
          <a:prstGeom prst="rect">
            <a:avLst/>
          </a:prstGeom>
          <a:solidFill>
            <a:srgbClr val="92D050"/>
          </a:solidFill>
          <a:ln w="19050" cap="sq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/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140" name="Rectangle 139"/>
          <p:cNvSpPr/>
          <p:nvPr/>
        </p:nvSpPr>
        <p:spPr>
          <a:xfrm flipV="1">
            <a:off x="8230344" y="3235344"/>
            <a:ext cx="300913" cy="1213906"/>
          </a:xfrm>
          <a:prstGeom prst="rect">
            <a:avLst/>
          </a:prstGeom>
          <a:solidFill>
            <a:srgbClr val="92D050"/>
          </a:solidFill>
          <a:ln w="19050" cap="sq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/>
            <a:endParaRPr lang="en-US" sz="1400">
              <a:solidFill>
                <a:srgbClr val="FFFFFF"/>
              </a:solidFill>
            </a:endParaRPr>
          </a:p>
        </p:txBody>
      </p:sp>
      <p:pic>
        <p:nvPicPr>
          <p:cNvPr id="184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 rot="10800000" flipV="1">
            <a:off x="8623083" y="3113248"/>
            <a:ext cx="286862" cy="8388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5" name="Rectangle 134"/>
          <p:cNvSpPr/>
          <p:nvPr/>
        </p:nvSpPr>
        <p:spPr>
          <a:xfrm flipV="1">
            <a:off x="8216251" y="1961934"/>
            <a:ext cx="760887" cy="1275114"/>
          </a:xfrm>
          <a:prstGeom prst="rect">
            <a:avLst/>
          </a:prstGeom>
          <a:solidFill>
            <a:schemeClr val="tx2"/>
          </a:solidFill>
          <a:ln w="19050" cap="sq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71650"/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133" name="Rectangle 132"/>
          <p:cNvSpPr/>
          <p:nvPr/>
        </p:nvSpPr>
        <p:spPr>
          <a:xfrm flipV="1">
            <a:off x="193558" y="1955956"/>
            <a:ext cx="736594" cy="1279126"/>
          </a:xfrm>
          <a:prstGeom prst="rect">
            <a:avLst/>
          </a:prstGeom>
          <a:solidFill>
            <a:schemeClr val="tx2"/>
          </a:solidFill>
          <a:ln w="19050" cap="sq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86" name="Rectangle 185"/>
          <p:cNvSpPr/>
          <p:nvPr/>
        </p:nvSpPr>
        <p:spPr>
          <a:xfrm flipV="1">
            <a:off x="0" y="3959344"/>
            <a:ext cx="511559" cy="1184155"/>
          </a:xfrm>
          <a:prstGeom prst="rect">
            <a:avLst/>
          </a:prstGeom>
          <a:pattFill prst="wdUpDiag">
            <a:fgClr>
              <a:schemeClr val="bg1">
                <a:lumMod val="50000"/>
              </a:schemeClr>
            </a:fgClr>
            <a:bgClr>
              <a:schemeClr val="bg1"/>
            </a:bgClr>
          </a:pattFill>
          <a:ln w="19050" cap="sq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90" name="Rectangle 189"/>
          <p:cNvSpPr/>
          <p:nvPr/>
        </p:nvSpPr>
        <p:spPr>
          <a:xfrm flipV="1">
            <a:off x="8623083" y="3959342"/>
            <a:ext cx="508153" cy="1184155"/>
          </a:xfrm>
          <a:prstGeom prst="rect">
            <a:avLst/>
          </a:prstGeom>
          <a:pattFill prst="wdUpDiag">
            <a:fgClr>
              <a:schemeClr val="bg1">
                <a:lumMod val="50000"/>
              </a:schemeClr>
            </a:fgClr>
            <a:bgClr>
              <a:schemeClr val="bg1"/>
            </a:bgClr>
          </a:pattFill>
          <a:ln w="19050" cap="sq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grpSp>
        <p:nvGrpSpPr>
          <p:cNvPr id="196" name="Group 195"/>
          <p:cNvGrpSpPr/>
          <p:nvPr/>
        </p:nvGrpSpPr>
        <p:grpSpPr>
          <a:xfrm rot="10800000" flipV="1">
            <a:off x="270752" y="792584"/>
            <a:ext cx="586882" cy="590142"/>
            <a:chOff x="14042969" y="3062685"/>
            <a:chExt cx="591427" cy="607461"/>
          </a:xfrm>
        </p:grpSpPr>
        <p:cxnSp>
          <p:nvCxnSpPr>
            <p:cNvPr id="241" name="Straight Arrow Connector 240"/>
            <p:cNvCxnSpPr/>
            <p:nvPr/>
          </p:nvCxnSpPr>
          <p:spPr>
            <a:xfrm rot="10800000" flipV="1">
              <a:off x="14042969" y="3669198"/>
              <a:ext cx="591427" cy="0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2" name="Straight Arrow Connector 241"/>
            <p:cNvCxnSpPr/>
            <p:nvPr/>
          </p:nvCxnSpPr>
          <p:spPr>
            <a:xfrm rot="10800000">
              <a:off x="14634396" y="3078262"/>
              <a:ext cx="0" cy="591884"/>
            </a:xfrm>
            <a:prstGeom prst="straightConnector1">
              <a:avLst/>
            </a:prstGeom>
            <a:ln w="28575">
              <a:solidFill>
                <a:schemeClr val="tx1"/>
              </a:solidFill>
              <a:headEnd type="none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3" name="TextBox 242"/>
            <p:cNvSpPr txBox="1"/>
            <p:nvPr/>
          </p:nvSpPr>
          <p:spPr>
            <a:xfrm>
              <a:off x="14054422" y="3332815"/>
              <a:ext cx="141064" cy="2770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Aft>
                  <a:spcPts val="900"/>
                </a:spcAft>
              </a:pPr>
              <a:r>
                <a:rPr lang="en-US" dirty="0">
                  <a:solidFill>
                    <a:srgbClr val="0F238C"/>
                  </a:solidFill>
                  <a:latin typeface="Arial"/>
                </a:rPr>
                <a:t>Z</a:t>
              </a:r>
            </a:p>
          </p:txBody>
        </p:sp>
        <p:sp>
          <p:nvSpPr>
            <p:cNvPr id="244" name="TextBox 243"/>
            <p:cNvSpPr txBox="1"/>
            <p:nvPr/>
          </p:nvSpPr>
          <p:spPr>
            <a:xfrm>
              <a:off x="14390034" y="3062685"/>
              <a:ext cx="153888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Aft>
                  <a:spcPts val="900"/>
                </a:spcAft>
              </a:pPr>
              <a:r>
                <a:rPr lang="en-US" dirty="0">
                  <a:solidFill>
                    <a:srgbClr val="0F238C"/>
                  </a:solidFill>
                  <a:latin typeface="Arial"/>
                </a:rPr>
                <a:t>Y</a:t>
              </a:r>
            </a:p>
          </p:txBody>
        </p:sp>
      </p:grpSp>
      <p:sp>
        <p:nvSpPr>
          <p:cNvPr id="245" name="Rectangle 244"/>
          <p:cNvSpPr/>
          <p:nvPr/>
        </p:nvSpPr>
        <p:spPr>
          <a:xfrm flipV="1">
            <a:off x="501867" y="5018204"/>
            <a:ext cx="8121216" cy="125295"/>
          </a:xfrm>
          <a:prstGeom prst="rect">
            <a:avLst/>
          </a:prstGeom>
          <a:pattFill prst="wdUpDiag">
            <a:fgClr>
              <a:schemeClr val="bg1">
                <a:lumMod val="50000"/>
              </a:schemeClr>
            </a:fgClr>
            <a:bgClr>
              <a:schemeClr val="bg1"/>
            </a:bgClr>
          </a:pattFill>
          <a:ln w="19050" cap="sq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cxnSp>
        <p:nvCxnSpPr>
          <p:cNvPr id="247" name="Straight Arrow Connector 246"/>
          <p:cNvCxnSpPr/>
          <p:nvPr/>
        </p:nvCxnSpPr>
        <p:spPr>
          <a:xfrm>
            <a:off x="1191368" y="738959"/>
            <a:ext cx="0" cy="336075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0" name="Straight Arrow Connector 249"/>
          <p:cNvCxnSpPr/>
          <p:nvPr/>
        </p:nvCxnSpPr>
        <p:spPr>
          <a:xfrm>
            <a:off x="1128422" y="2410059"/>
            <a:ext cx="0" cy="336075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1" name="Straight Arrow Connector 250"/>
          <p:cNvCxnSpPr/>
          <p:nvPr/>
        </p:nvCxnSpPr>
        <p:spPr>
          <a:xfrm>
            <a:off x="1789452" y="3540719"/>
            <a:ext cx="353958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Straight Arrow Connector 260"/>
          <p:cNvCxnSpPr/>
          <p:nvPr/>
        </p:nvCxnSpPr>
        <p:spPr>
          <a:xfrm flipV="1">
            <a:off x="7839615" y="2375719"/>
            <a:ext cx="0" cy="291245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9" name="Straight Arrow Connector 268"/>
          <p:cNvCxnSpPr/>
          <p:nvPr/>
        </p:nvCxnSpPr>
        <p:spPr>
          <a:xfrm>
            <a:off x="4733479" y="3572491"/>
            <a:ext cx="337448" cy="1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6" name="Straight Arrow Connector 265"/>
          <p:cNvCxnSpPr/>
          <p:nvPr/>
        </p:nvCxnSpPr>
        <p:spPr>
          <a:xfrm flipH="1" flipV="1">
            <a:off x="4732907" y="616044"/>
            <a:ext cx="466090" cy="1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7" name="Straight Arrow Connector 266"/>
          <p:cNvCxnSpPr/>
          <p:nvPr/>
        </p:nvCxnSpPr>
        <p:spPr>
          <a:xfrm>
            <a:off x="3979334" y="2053979"/>
            <a:ext cx="0" cy="336075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/>
          <p:cNvGrpSpPr/>
          <p:nvPr/>
        </p:nvGrpSpPr>
        <p:grpSpPr>
          <a:xfrm>
            <a:off x="4265944" y="1256233"/>
            <a:ext cx="1918894" cy="2158196"/>
            <a:chOff x="4532644" y="1256233"/>
            <a:chExt cx="1918894" cy="2158196"/>
          </a:xfrm>
        </p:grpSpPr>
        <p:sp>
          <p:nvSpPr>
            <p:cNvPr id="155" name="Rectangle 154"/>
            <p:cNvSpPr/>
            <p:nvPr/>
          </p:nvSpPr>
          <p:spPr>
            <a:xfrm rot="2700000" flipH="1" flipV="1">
              <a:off x="5766120" y="2864948"/>
              <a:ext cx="85421" cy="724063"/>
            </a:xfrm>
            <a:prstGeom prst="rect">
              <a:avLst/>
            </a:prstGeom>
            <a:pattFill prst="lgCheck">
              <a:fgClr>
                <a:schemeClr val="bg2"/>
              </a:fgClr>
              <a:bgClr>
                <a:schemeClr val="bg1"/>
              </a:bgClr>
            </a:pattFill>
            <a:ln w="9525" cap="sq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grpSp>
          <p:nvGrpSpPr>
            <p:cNvPr id="27" name="Group 26"/>
            <p:cNvGrpSpPr/>
            <p:nvPr/>
          </p:nvGrpSpPr>
          <p:grpSpPr>
            <a:xfrm>
              <a:off x="4532644" y="1256233"/>
              <a:ext cx="1918894" cy="2158196"/>
              <a:chOff x="4526294" y="1256233"/>
              <a:chExt cx="1918894" cy="2158196"/>
            </a:xfrm>
          </p:grpSpPr>
          <p:sp>
            <p:nvSpPr>
              <p:cNvPr id="28" name="TextBox 27"/>
              <p:cNvSpPr txBox="1"/>
              <p:nvPr/>
            </p:nvSpPr>
            <p:spPr>
              <a:xfrm rot="10800000" flipV="1">
                <a:off x="5865701" y="3245152"/>
                <a:ext cx="307777" cy="1692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900"/>
                  </a:spcAft>
                </a:pPr>
                <a:r>
                  <a:rPr lang="en-US" sz="1100" dirty="0">
                    <a:solidFill>
                      <a:srgbClr val="1C7DDB"/>
                    </a:solidFill>
                    <a:latin typeface="Mathcad UniMath"/>
                  </a:rPr>
                  <a:t>≅</a:t>
                </a:r>
                <a:r>
                  <a:rPr lang="en-US" sz="1100" dirty="0">
                    <a:solidFill>
                      <a:srgbClr val="1C7DDB"/>
                    </a:solidFill>
                    <a:latin typeface="Arial"/>
                  </a:rPr>
                  <a:t>4%</a:t>
                </a:r>
              </a:p>
            </p:txBody>
          </p:sp>
          <p:sp>
            <p:nvSpPr>
              <p:cNvPr id="162" name="TextBox 161"/>
              <p:cNvSpPr txBox="1"/>
              <p:nvPr/>
            </p:nvSpPr>
            <p:spPr>
              <a:xfrm rot="10800000" flipV="1">
                <a:off x="6105351" y="2309909"/>
                <a:ext cx="339837" cy="1692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900"/>
                  </a:spcAft>
                </a:pPr>
                <a:r>
                  <a:rPr lang="en-US" sz="1100" dirty="0">
                    <a:solidFill>
                      <a:srgbClr val="1C7DDB"/>
                    </a:solidFill>
                    <a:latin typeface="Mathcad UniMath"/>
                  </a:rPr>
                  <a:t>≅ </a:t>
                </a:r>
                <a:r>
                  <a:rPr lang="en-US" sz="1100" dirty="0">
                    <a:solidFill>
                      <a:srgbClr val="1C7DDB"/>
                    </a:solidFill>
                    <a:latin typeface="Arial"/>
                  </a:rPr>
                  <a:t>4%</a:t>
                </a:r>
              </a:p>
            </p:txBody>
          </p:sp>
          <p:grpSp>
            <p:nvGrpSpPr>
              <p:cNvPr id="26" name="Group 25"/>
              <p:cNvGrpSpPr/>
              <p:nvPr/>
            </p:nvGrpSpPr>
            <p:grpSpPr>
              <a:xfrm>
                <a:off x="4526294" y="1256233"/>
                <a:ext cx="1640947" cy="2158120"/>
                <a:chOff x="4507244" y="1256233"/>
                <a:chExt cx="1640947" cy="2158120"/>
              </a:xfrm>
            </p:grpSpPr>
            <p:sp>
              <p:nvSpPr>
                <p:cNvPr id="12" name="Rectangle 11"/>
                <p:cNvSpPr/>
                <p:nvPr/>
              </p:nvSpPr>
              <p:spPr>
                <a:xfrm flipV="1">
                  <a:off x="5483683" y="2890985"/>
                  <a:ext cx="593109" cy="44416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 w="19050" cap="sq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grpSp>
              <p:nvGrpSpPr>
                <p:cNvPr id="15" name="Group 14"/>
                <p:cNvGrpSpPr/>
                <p:nvPr/>
              </p:nvGrpSpPr>
              <p:grpSpPr>
                <a:xfrm flipV="1">
                  <a:off x="5395736" y="1256233"/>
                  <a:ext cx="752455" cy="2158120"/>
                  <a:chOff x="4655162" y="2198703"/>
                  <a:chExt cx="758283" cy="2221432"/>
                </a:xfrm>
              </p:grpSpPr>
              <p:grpSp>
                <p:nvGrpSpPr>
                  <p:cNvPr id="238" name="Group 237"/>
                  <p:cNvGrpSpPr/>
                  <p:nvPr/>
                </p:nvGrpSpPr>
                <p:grpSpPr>
                  <a:xfrm>
                    <a:off x="4655162" y="2429531"/>
                    <a:ext cx="758283" cy="1990604"/>
                    <a:chOff x="6869471" y="2349138"/>
                    <a:chExt cx="758283" cy="1990604"/>
                  </a:xfrm>
                </p:grpSpPr>
                <p:sp>
                  <p:nvSpPr>
                    <p:cNvPr id="239" name="Rectangle 238"/>
                    <p:cNvSpPr/>
                    <p:nvPr/>
                  </p:nvSpPr>
                  <p:spPr>
                    <a:xfrm>
                      <a:off x="6929374" y="3582399"/>
                      <a:ext cx="624104" cy="449038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19050" cap="sq">
                      <a:noFill/>
                    </a:ln>
                    <a:effectLst/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  <p:grpSp>
                  <p:nvGrpSpPr>
                    <p:cNvPr id="240" name="Group 239"/>
                    <p:cNvGrpSpPr/>
                    <p:nvPr/>
                  </p:nvGrpSpPr>
                  <p:grpSpPr>
                    <a:xfrm>
                      <a:off x="6869471" y="2349138"/>
                      <a:ext cx="758283" cy="1990604"/>
                      <a:chOff x="5543797" y="2348015"/>
                      <a:chExt cx="758283" cy="1990604"/>
                    </a:xfrm>
                  </p:grpSpPr>
                  <p:grpSp>
                    <p:nvGrpSpPr>
                      <p:cNvPr id="264" name="Group 263"/>
                      <p:cNvGrpSpPr/>
                      <p:nvPr/>
                    </p:nvGrpSpPr>
                    <p:grpSpPr>
                      <a:xfrm rot="10800000">
                        <a:off x="5543797" y="2348015"/>
                        <a:ext cx="758283" cy="1990604"/>
                        <a:chOff x="5869839" y="1877446"/>
                        <a:chExt cx="758283" cy="1990604"/>
                      </a:xfrm>
                    </p:grpSpPr>
                    <p:sp>
                      <p:nvSpPr>
                        <p:cNvPr id="272" name="Rectangle 271"/>
                        <p:cNvSpPr/>
                        <p:nvPr/>
                      </p:nvSpPr>
                      <p:spPr>
                        <a:xfrm>
                          <a:off x="5869839" y="2069707"/>
                          <a:ext cx="758283" cy="219113"/>
                        </a:xfrm>
                        <a:prstGeom prst="rect">
                          <a:avLst/>
                        </a:prstGeom>
                        <a:solidFill>
                          <a:schemeClr val="accent3"/>
                        </a:solidFill>
                        <a:ln w="9525" cap="sq">
                          <a:solidFill>
                            <a:schemeClr val="tx1"/>
                          </a:solidFill>
                        </a:ln>
                        <a:effectLst/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        <a:prstTxWarp prst="textNoShape">
                            <a:avLst/>
                          </a:prstTxWarp>
                          <a:noAutofit/>
                        </a:bodyPr>
                        <a:lstStyle/>
                        <a:p>
                          <a:pPr algn="ctr"/>
                          <a:endParaRPr lang="en-US">
                            <a:solidFill>
                              <a:srgbClr val="FFFFFF"/>
                            </a:solidFill>
                          </a:endParaRPr>
                        </a:p>
                      </p:txBody>
                    </p:sp>
                    <p:grpSp>
                      <p:nvGrpSpPr>
                        <p:cNvPr id="280" name="Group 279"/>
                        <p:cNvGrpSpPr/>
                        <p:nvPr/>
                      </p:nvGrpSpPr>
                      <p:grpSpPr>
                        <a:xfrm rot="16200000">
                          <a:off x="6084529" y="2444604"/>
                          <a:ext cx="324445" cy="642938"/>
                          <a:chOff x="4320177" y="1114425"/>
                          <a:chExt cx="324445" cy="642938"/>
                        </a:xfrm>
                      </p:grpSpPr>
                      <p:sp>
                        <p:nvSpPr>
                          <p:cNvPr id="287" name="Oval 286"/>
                          <p:cNvSpPr/>
                          <p:nvPr/>
                        </p:nvSpPr>
                        <p:spPr>
                          <a:xfrm>
                            <a:off x="4320177" y="1114425"/>
                            <a:ext cx="120848" cy="642938"/>
                          </a:xfrm>
                          <a:prstGeom prst="ellipse">
                            <a:avLst/>
                          </a:prstGeom>
                          <a:solidFill>
                            <a:schemeClr val="bg2"/>
                          </a:solidFill>
                          <a:ln w="9525" cap="sq">
                            <a:solidFill>
                              <a:schemeClr val="tx1"/>
                            </a:solidFill>
                          </a:ln>
                          <a:effectLst/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          <a:prstTxWarp prst="textNoShape">
                              <a:avLst/>
                            </a:prstTxWarp>
                            <a:noAutofit/>
                          </a:bodyPr>
                          <a:lstStyle/>
                          <a:p>
                            <a:pPr algn="ctr"/>
                            <a:endParaRPr lang="en-US">
                              <a:solidFill>
                                <a:srgbClr val="FFFFFF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288" name="Oval 287"/>
                          <p:cNvSpPr/>
                          <p:nvPr/>
                        </p:nvSpPr>
                        <p:spPr>
                          <a:xfrm>
                            <a:off x="4441025" y="1114425"/>
                            <a:ext cx="203597" cy="642938"/>
                          </a:xfrm>
                          <a:prstGeom prst="ellipse">
                            <a:avLst/>
                          </a:prstGeom>
                          <a:solidFill>
                            <a:schemeClr val="bg2"/>
                          </a:solidFill>
                          <a:ln w="9525" cap="sq">
                            <a:solidFill>
                              <a:schemeClr val="tx1"/>
                            </a:solidFill>
                          </a:ln>
                          <a:effectLst/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          <a:prstTxWarp prst="textNoShape">
                              <a:avLst/>
                            </a:prstTxWarp>
                            <a:noAutofit/>
                          </a:bodyPr>
                          <a:lstStyle/>
                          <a:p>
                            <a:pPr algn="ctr"/>
                            <a:endParaRPr lang="en-US">
                              <a:solidFill>
                                <a:srgbClr val="FFFFFF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289" name="Rectangle 288"/>
                          <p:cNvSpPr/>
                          <p:nvPr/>
                        </p:nvSpPr>
                        <p:spPr>
                          <a:xfrm>
                            <a:off x="4379119" y="1114425"/>
                            <a:ext cx="164306" cy="642938"/>
                          </a:xfrm>
                          <a:prstGeom prst="rect">
                            <a:avLst/>
                          </a:prstGeom>
                          <a:solidFill>
                            <a:schemeClr val="bg2"/>
                          </a:solidFill>
                          <a:ln w="9525" cap="sq">
                            <a:solidFill>
                              <a:schemeClr val="tx1"/>
                            </a:solidFill>
                          </a:ln>
                          <a:effectLst/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          <a:prstTxWarp prst="textNoShape">
                              <a:avLst/>
                            </a:prstTxWarp>
                            <a:noAutofit/>
                          </a:bodyPr>
                          <a:lstStyle/>
                          <a:p>
                            <a:pPr algn="ctr"/>
                            <a:endParaRPr lang="en-US">
                              <a:solidFill>
                                <a:srgbClr val="FFFFFF"/>
                              </a:solidFill>
                            </a:endParaRPr>
                          </a:p>
                        </p:txBody>
                      </p:sp>
                    </p:grpSp>
                    <p:cxnSp>
                      <p:nvCxnSpPr>
                        <p:cNvPr id="283" name="Straight Connector 282"/>
                        <p:cNvCxnSpPr>
                          <a:stCxn id="285" idx="3"/>
                          <a:endCxn id="155" idx="3"/>
                        </p:cNvCxnSpPr>
                        <p:nvPr/>
                      </p:nvCxnSpPr>
                      <p:spPr>
                        <a:xfrm rot="10800000" flipV="1">
                          <a:off x="6242262" y="2184628"/>
                          <a:ext cx="4486" cy="1683422"/>
                        </a:xfrm>
                        <a:prstGeom prst="line">
                          <a:avLst/>
                        </a:prstGeom>
                        <a:ln w="9525">
                          <a:solidFill>
                            <a:schemeClr val="tx1"/>
                          </a:solidFill>
                          <a:prstDash val="dashDot"/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sp>
                      <p:nvSpPr>
                        <p:cNvPr id="285" name="Rectangle 284"/>
                        <p:cNvSpPr/>
                        <p:nvPr/>
                      </p:nvSpPr>
                      <p:spPr>
                        <a:xfrm rot="5400000">
                          <a:off x="6093159" y="1895305"/>
                          <a:ext cx="307182" cy="271463"/>
                        </a:xfrm>
                        <a:prstGeom prst="rect">
                          <a:avLst/>
                        </a:prstGeom>
                        <a:solidFill>
                          <a:schemeClr val="tx1"/>
                        </a:solidFill>
                        <a:ln w="19050" cap="sq">
                          <a:solidFill>
                            <a:schemeClr val="tx1"/>
                          </a:solidFill>
                        </a:ln>
                        <a:effectLst/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        <a:prstTxWarp prst="textNoShape">
                            <a:avLst/>
                          </a:prstTxWarp>
                          <a:noAutofit/>
                        </a:bodyPr>
                        <a:lstStyle/>
                        <a:p>
                          <a:pPr algn="ctr"/>
                          <a:endParaRPr lang="en-US">
                            <a:solidFill>
                              <a:srgbClr val="FFFFFF"/>
                            </a:solidFill>
                          </a:endParaRPr>
                        </a:p>
                      </p:txBody>
                    </p:sp>
                  </p:grpSp>
                  <p:cxnSp>
                    <p:nvCxnSpPr>
                      <p:cNvPr id="265" name="Straight Connector 264"/>
                      <p:cNvCxnSpPr>
                        <a:stCxn id="288" idx="5"/>
                        <a:endCxn id="285" idx="3"/>
                      </p:cNvCxnSpPr>
                      <p:nvPr/>
                    </p:nvCxnSpPr>
                    <p:spPr>
                      <a:xfrm>
                        <a:off x="5697855" y="3582399"/>
                        <a:ext cx="227314" cy="449040"/>
                      </a:xfrm>
                      <a:prstGeom prst="line">
                        <a:avLst/>
                      </a:prstGeom>
                      <a:ln w="9525">
                        <a:solidFill>
                          <a:schemeClr val="tx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268" name="Straight Connector 267"/>
                      <p:cNvCxnSpPr>
                        <a:stCxn id="285" idx="3"/>
                        <a:endCxn id="288" idx="7"/>
                      </p:cNvCxnSpPr>
                      <p:nvPr/>
                    </p:nvCxnSpPr>
                    <p:spPr>
                      <a:xfrm flipV="1">
                        <a:off x="5925169" y="3582399"/>
                        <a:ext cx="227312" cy="449040"/>
                      </a:xfrm>
                      <a:prstGeom prst="line">
                        <a:avLst/>
                      </a:prstGeom>
                      <a:ln w="9525">
                        <a:solidFill>
                          <a:schemeClr val="tx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cxnSp>
                <p:nvCxnSpPr>
                  <p:cNvPr id="171" name="Straight Connector 170"/>
                  <p:cNvCxnSpPr/>
                  <p:nvPr/>
                </p:nvCxnSpPr>
                <p:spPr>
                  <a:xfrm flipH="1">
                    <a:off x="4791904" y="2198703"/>
                    <a:ext cx="0" cy="1188720"/>
                  </a:xfrm>
                  <a:prstGeom prst="line">
                    <a:avLst/>
                  </a:prstGeom>
                  <a:ln w="9525"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3" name="Straight Connector 172"/>
                  <p:cNvCxnSpPr/>
                  <p:nvPr/>
                </p:nvCxnSpPr>
                <p:spPr>
                  <a:xfrm rot="5400000" flipH="1">
                    <a:off x="4880764" y="3014443"/>
                    <a:ext cx="731521" cy="0"/>
                  </a:xfrm>
                  <a:prstGeom prst="line">
                    <a:avLst/>
                  </a:prstGeom>
                  <a:ln w="9525"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248" name="Group 247"/>
                <p:cNvGrpSpPr/>
                <p:nvPr/>
              </p:nvGrpSpPr>
              <p:grpSpPr>
                <a:xfrm flipV="1">
                  <a:off x="4507244" y="2397283"/>
                  <a:ext cx="1449895" cy="304944"/>
                  <a:chOff x="3757791" y="2925188"/>
                  <a:chExt cx="1461124" cy="313890"/>
                </a:xfrm>
              </p:grpSpPr>
              <p:cxnSp>
                <p:nvCxnSpPr>
                  <p:cNvPr id="201" name="Straight Connector 200"/>
                  <p:cNvCxnSpPr/>
                  <p:nvPr/>
                </p:nvCxnSpPr>
                <p:spPr>
                  <a:xfrm flipV="1">
                    <a:off x="3757791" y="3239078"/>
                    <a:ext cx="1461124" cy="0"/>
                  </a:xfrm>
                  <a:prstGeom prst="line">
                    <a:avLst/>
                  </a:prstGeom>
                  <a:ln w="9525"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5" name="Straight Connector 204"/>
                  <p:cNvCxnSpPr/>
                  <p:nvPr/>
                </p:nvCxnSpPr>
                <p:spPr>
                  <a:xfrm>
                    <a:off x="4081248" y="2925188"/>
                    <a:ext cx="784579" cy="0"/>
                  </a:xfrm>
                  <a:prstGeom prst="line">
                    <a:avLst/>
                  </a:prstGeom>
                  <a:ln w="9525"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163" name="Rectangle 162"/>
                <p:cNvSpPr/>
                <p:nvPr/>
              </p:nvSpPr>
              <p:spPr>
                <a:xfrm rot="2700000" flipH="1" flipV="1">
                  <a:off x="5743388" y="2231854"/>
                  <a:ext cx="85421" cy="724063"/>
                </a:xfrm>
                <a:prstGeom prst="rect">
                  <a:avLst/>
                </a:prstGeom>
                <a:pattFill prst="lgCheck">
                  <a:fgClr>
                    <a:schemeClr val="bg2"/>
                  </a:fgClr>
                  <a:bgClr>
                    <a:schemeClr val="bg1"/>
                  </a:bgClr>
                </a:pattFill>
                <a:ln w="9525" cap="sq">
                  <a:solidFill>
                    <a:schemeClr val="tx1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cxnSp>
              <p:nvCxnSpPr>
                <p:cNvPr id="270" name="Straight Arrow Connector 269"/>
                <p:cNvCxnSpPr/>
                <p:nvPr/>
              </p:nvCxnSpPr>
              <p:spPr>
                <a:xfrm>
                  <a:off x="5007041" y="2321102"/>
                  <a:ext cx="337448" cy="1"/>
                </a:xfrm>
                <a:prstGeom prst="straightConnector1">
                  <a:avLst/>
                </a:prstGeom>
                <a:ln w="9525">
                  <a:solidFill>
                    <a:schemeClr val="tx1"/>
                  </a:solidFill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271" name="Straight Arrow Connector 270"/>
              <p:cNvCxnSpPr/>
              <p:nvPr/>
            </p:nvCxnSpPr>
            <p:spPr>
              <a:xfrm flipV="1">
                <a:off x="6078969" y="2528793"/>
                <a:ext cx="0" cy="213962"/>
              </a:xfrm>
              <a:prstGeom prst="straightConnector1">
                <a:avLst/>
              </a:prstGeom>
              <a:ln w="9525">
                <a:solidFill>
                  <a:schemeClr val="tx1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2" name="Group 41"/>
          <p:cNvGrpSpPr/>
          <p:nvPr/>
        </p:nvGrpSpPr>
        <p:grpSpPr>
          <a:xfrm>
            <a:off x="2830716" y="557073"/>
            <a:ext cx="2534237" cy="537966"/>
            <a:chOff x="2163966" y="779323"/>
            <a:chExt cx="2534237" cy="537966"/>
          </a:xfrm>
        </p:grpSpPr>
        <p:sp>
          <p:nvSpPr>
            <p:cNvPr id="252" name="Oval 251"/>
            <p:cNvSpPr>
              <a:spLocks noChangeAspect="1"/>
            </p:cNvSpPr>
            <p:nvPr/>
          </p:nvSpPr>
          <p:spPr>
            <a:xfrm>
              <a:off x="4160535" y="964188"/>
              <a:ext cx="352515" cy="353101"/>
            </a:xfrm>
            <a:prstGeom prst="ellipse">
              <a:avLst/>
            </a:prstGeom>
            <a:noFill/>
            <a:ln w="63500" cap="sq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09" name="Oval 208"/>
            <p:cNvSpPr>
              <a:spLocks noChangeAspect="1"/>
            </p:cNvSpPr>
            <p:nvPr/>
          </p:nvSpPr>
          <p:spPr>
            <a:xfrm>
              <a:off x="4307917" y="959062"/>
              <a:ext cx="352515" cy="353101"/>
            </a:xfrm>
            <a:prstGeom prst="ellipse">
              <a:avLst/>
            </a:prstGeom>
            <a:noFill/>
            <a:ln w="63500" cap="sq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cxnSp>
          <p:nvCxnSpPr>
            <p:cNvPr id="257" name="Straight Connector 256"/>
            <p:cNvCxnSpPr>
              <a:stCxn id="206" idx="3"/>
            </p:cNvCxnSpPr>
            <p:nvPr/>
          </p:nvCxnSpPr>
          <p:spPr>
            <a:xfrm>
              <a:off x="3469212" y="954293"/>
              <a:ext cx="1228991" cy="3763"/>
            </a:xfrm>
            <a:prstGeom prst="line">
              <a:avLst/>
            </a:prstGeom>
            <a:noFill/>
            <a:ln w="63500" cap="sq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06" name="Rectangle 205"/>
            <p:cNvSpPr/>
            <p:nvPr/>
          </p:nvSpPr>
          <p:spPr>
            <a:xfrm>
              <a:off x="2163966" y="779323"/>
              <a:ext cx="1305246" cy="349940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19050" cap="sq">
              <a:solidFill>
                <a:schemeClr val="accent5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dirty="0">
                  <a:solidFill>
                    <a:srgbClr val="FED100">
                      <a:lumMod val="50000"/>
                    </a:srgbClr>
                  </a:solidFill>
                </a:rPr>
                <a:t>Spectrometer</a:t>
              </a:r>
            </a:p>
          </p:txBody>
        </p:sp>
      </p:grpSp>
      <p:sp>
        <p:nvSpPr>
          <p:cNvPr id="51" name="Freeform 50"/>
          <p:cNvSpPr/>
          <p:nvPr/>
        </p:nvSpPr>
        <p:spPr>
          <a:xfrm>
            <a:off x="7438697" y="842147"/>
            <a:ext cx="568653" cy="415153"/>
          </a:xfrm>
          <a:custGeom>
            <a:avLst/>
            <a:gdLst>
              <a:gd name="connsiteX0" fmla="*/ 82878 w 568653"/>
              <a:gd name="connsiteY0" fmla="*/ 415153 h 415153"/>
              <a:gd name="connsiteX1" fmla="*/ 82878 w 568653"/>
              <a:gd name="connsiteY1" fmla="*/ 286566 h 415153"/>
              <a:gd name="connsiteX2" fmla="*/ 4297 w 568653"/>
              <a:gd name="connsiteY2" fmla="*/ 186553 h 415153"/>
              <a:gd name="connsiteX3" fmla="*/ 25728 w 568653"/>
              <a:gd name="connsiteY3" fmla="*/ 43678 h 415153"/>
              <a:gd name="connsiteX4" fmla="*/ 154316 w 568653"/>
              <a:gd name="connsiteY4" fmla="*/ 816 h 415153"/>
              <a:gd name="connsiteX5" fmla="*/ 318622 w 568653"/>
              <a:gd name="connsiteY5" fmla="*/ 22247 h 415153"/>
              <a:gd name="connsiteX6" fmla="*/ 425778 w 568653"/>
              <a:gd name="connsiteY6" fmla="*/ 100828 h 415153"/>
              <a:gd name="connsiteX7" fmla="*/ 568653 w 568653"/>
              <a:gd name="connsiteY7" fmla="*/ 115116 h 4151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8653" h="415153">
                <a:moveTo>
                  <a:pt x="82878" y="415153"/>
                </a:moveTo>
                <a:cubicBezTo>
                  <a:pt x="89426" y="369909"/>
                  <a:pt x="95975" y="324666"/>
                  <a:pt x="82878" y="286566"/>
                </a:cubicBezTo>
                <a:cubicBezTo>
                  <a:pt x="69781" y="248466"/>
                  <a:pt x="13822" y="227034"/>
                  <a:pt x="4297" y="186553"/>
                </a:cubicBezTo>
                <a:cubicBezTo>
                  <a:pt x="-5228" y="146072"/>
                  <a:pt x="725" y="74634"/>
                  <a:pt x="25728" y="43678"/>
                </a:cubicBezTo>
                <a:cubicBezTo>
                  <a:pt x="50731" y="12722"/>
                  <a:pt x="105500" y="4388"/>
                  <a:pt x="154316" y="816"/>
                </a:cubicBezTo>
                <a:cubicBezTo>
                  <a:pt x="203132" y="-2756"/>
                  <a:pt x="273378" y="5578"/>
                  <a:pt x="318622" y="22247"/>
                </a:cubicBezTo>
                <a:cubicBezTo>
                  <a:pt x="363866" y="38916"/>
                  <a:pt x="384106" y="85350"/>
                  <a:pt x="425778" y="100828"/>
                </a:cubicBezTo>
                <a:cubicBezTo>
                  <a:pt x="467450" y="116306"/>
                  <a:pt x="518051" y="115711"/>
                  <a:pt x="568653" y="115116"/>
                </a:cubicBezTo>
              </a:path>
            </a:pathLst>
          </a:custGeom>
          <a:noFill/>
          <a:ln w="63500" cap="sq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8000206" y="878420"/>
            <a:ext cx="400050" cy="155160"/>
          </a:xfrm>
          <a:prstGeom prst="rect">
            <a:avLst/>
          </a:prstGeom>
          <a:solidFill>
            <a:schemeClr val="tx1"/>
          </a:solidFill>
          <a:ln w="19050" cap="sq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8811350" y="792584"/>
            <a:ext cx="11060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algn="ctr">
              <a:spcAft>
                <a:spcPts val="900"/>
              </a:spcAft>
              <a:defRPr sz="12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F238C"/>
                </a:solidFill>
              </a:rPr>
              <a:t>H</a:t>
            </a:r>
          </a:p>
        </p:txBody>
      </p:sp>
      <p:sp>
        <p:nvSpPr>
          <p:cNvPr id="274" name="TextBox 273"/>
          <p:cNvSpPr txBox="1"/>
          <p:nvPr/>
        </p:nvSpPr>
        <p:spPr>
          <a:xfrm>
            <a:off x="8608650" y="1324115"/>
            <a:ext cx="10259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algn="ctr">
              <a:spcAft>
                <a:spcPts val="900"/>
              </a:spcAft>
              <a:defRPr sz="12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F238C"/>
                </a:solidFill>
              </a:rPr>
              <a:t>V</a:t>
            </a:r>
          </a:p>
        </p:txBody>
      </p:sp>
      <p:sp>
        <p:nvSpPr>
          <p:cNvPr id="279" name="Rectangle 278"/>
          <p:cNvSpPr/>
          <p:nvPr/>
        </p:nvSpPr>
        <p:spPr>
          <a:xfrm flipV="1">
            <a:off x="4104358" y="1594931"/>
            <a:ext cx="619308" cy="436240"/>
          </a:xfrm>
          <a:prstGeom prst="rect">
            <a:avLst/>
          </a:prstGeom>
          <a:solidFill>
            <a:schemeClr val="bg1"/>
          </a:solidFill>
          <a:ln w="19050" cap="sq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81" name="Rectangle 280"/>
          <p:cNvSpPr/>
          <p:nvPr/>
        </p:nvSpPr>
        <p:spPr>
          <a:xfrm rot="10800000" flipV="1">
            <a:off x="4041089" y="1438209"/>
            <a:ext cx="752455" cy="212868"/>
          </a:xfrm>
          <a:prstGeom prst="rect">
            <a:avLst/>
          </a:prstGeom>
          <a:solidFill>
            <a:schemeClr val="accent3"/>
          </a:solidFill>
          <a:ln w="9525" cap="sq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25" name="Group 24"/>
          <p:cNvGrpSpPr/>
          <p:nvPr/>
        </p:nvGrpSpPr>
        <p:grpSpPr>
          <a:xfrm>
            <a:off x="4098317" y="1251427"/>
            <a:ext cx="637997" cy="1702945"/>
            <a:chOff x="2548917" y="1251427"/>
            <a:chExt cx="637997" cy="1702945"/>
          </a:xfrm>
        </p:grpSpPr>
        <p:cxnSp>
          <p:nvCxnSpPr>
            <p:cNvPr id="306" name="Straight Connector 305"/>
            <p:cNvCxnSpPr/>
            <p:nvPr/>
          </p:nvCxnSpPr>
          <p:spPr>
            <a:xfrm>
              <a:off x="2719571" y="2246662"/>
              <a:ext cx="0" cy="23011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82" name="Group 281"/>
            <p:cNvGrpSpPr/>
            <p:nvPr/>
          </p:nvGrpSpPr>
          <p:grpSpPr>
            <a:xfrm>
              <a:off x="2548917" y="1251427"/>
              <a:ext cx="637997" cy="1702945"/>
              <a:chOff x="1185651" y="1249098"/>
              <a:chExt cx="637997" cy="1702945"/>
            </a:xfrm>
          </p:grpSpPr>
          <p:grpSp>
            <p:nvGrpSpPr>
              <p:cNvPr id="286" name="Group 285"/>
              <p:cNvGrpSpPr/>
              <p:nvPr/>
            </p:nvGrpSpPr>
            <p:grpSpPr>
              <a:xfrm flipV="1">
                <a:off x="1185651" y="1249098"/>
                <a:ext cx="637997" cy="1310712"/>
                <a:chOff x="5603698" y="3004327"/>
                <a:chExt cx="642938" cy="1349159"/>
              </a:xfrm>
            </p:grpSpPr>
            <p:grpSp>
              <p:nvGrpSpPr>
                <p:cNvPr id="297" name="Group 296"/>
                <p:cNvGrpSpPr/>
                <p:nvPr/>
              </p:nvGrpSpPr>
              <p:grpSpPr>
                <a:xfrm rot="10800000">
                  <a:off x="5603698" y="3004327"/>
                  <a:ext cx="642938" cy="1349159"/>
                  <a:chOff x="5925283" y="1862579"/>
                  <a:chExt cx="642938" cy="1349159"/>
                </a:xfrm>
              </p:grpSpPr>
              <p:grpSp>
                <p:nvGrpSpPr>
                  <p:cNvPr id="300" name="Group 299"/>
                  <p:cNvGrpSpPr/>
                  <p:nvPr/>
                </p:nvGrpSpPr>
                <p:grpSpPr>
                  <a:xfrm rot="16200000">
                    <a:off x="6084529" y="2444604"/>
                    <a:ext cx="324445" cy="642938"/>
                    <a:chOff x="4320177" y="1114425"/>
                    <a:chExt cx="324445" cy="642938"/>
                  </a:xfrm>
                </p:grpSpPr>
                <p:sp>
                  <p:nvSpPr>
                    <p:cNvPr id="302" name="Oval 301"/>
                    <p:cNvSpPr/>
                    <p:nvPr/>
                  </p:nvSpPr>
                  <p:spPr>
                    <a:xfrm>
                      <a:off x="4320177" y="1114425"/>
                      <a:ext cx="120848" cy="642938"/>
                    </a:xfrm>
                    <a:prstGeom prst="ellipse">
                      <a:avLst/>
                    </a:prstGeom>
                    <a:solidFill>
                      <a:schemeClr val="bg2"/>
                    </a:solidFill>
                    <a:ln w="9525" cap="sq">
                      <a:solidFill>
                        <a:schemeClr val="tx1"/>
                      </a:solidFill>
                    </a:ln>
                    <a:effectLst/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  <p:sp>
                  <p:nvSpPr>
                    <p:cNvPr id="303" name="Oval 302"/>
                    <p:cNvSpPr/>
                    <p:nvPr/>
                  </p:nvSpPr>
                  <p:spPr>
                    <a:xfrm>
                      <a:off x="4441025" y="1114425"/>
                      <a:ext cx="203597" cy="642938"/>
                    </a:xfrm>
                    <a:prstGeom prst="ellipse">
                      <a:avLst/>
                    </a:prstGeom>
                    <a:solidFill>
                      <a:schemeClr val="bg2"/>
                    </a:solidFill>
                    <a:ln w="9525" cap="sq">
                      <a:solidFill>
                        <a:schemeClr val="tx1"/>
                      </a:solidFill>
                    </a:ln>
                    <a:effectLst/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  <p:sp>
                  <p:nvSpPr>
                    <p:cNvPr id="304" name="Rectangle 303"/>
                    <p:cNvSpPr/>
                    <p:nvPr/>
                  </p:nvSpPr>
                  <p:spPr>
                    <a:xfrm>
                      <a:off x="4379119" y="1114425"/>
                      <a:ext cx="164306" cy="642938"/>
                    </a:xfrm>
                    <a:prstGeom prst="rect">
                      <a:avLst/>
                    </a:prstGeom>
                    <a:solidFill>
                      <a:schemeClr val="bg2"/>
                    </a:solidFill>
                    <a:ln w="9525" cap="sq">
                      <a:solidFill>
                        <a:schemeClr val="tx1"/>
                      </a:solidFill>
                    </a:ln>
                    <a:effectLst/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</p:grpSp>
              <p:cxnSp>
                <p:nvCxnSpPr>
                  <p:cNvPr id="301" name="Straight Connector 300"/>
                  <p:cNvCxnSpPr>
                    <a:stCxn id="290" idx="1"/>
                    <a:endCxn id="291" idx="1"/>
                  </p:cNvCxnSpPr>
                  <p:nvPr/>
                </p:nvCxnSpPr>
                <p:spPr>
                  <a:xfrm rot="10800000" flipH="1" flipV="1">
                    <a:off x="6244519" y="1862579"/>
                    <a:ext cx="439" cy="1349159"/>
                  </a:xfrm>
                  <a:prstGeom prst="line">
                    <a:avLst/>
                  </a:prstGeom>
                  <a:ln w="9525">
                    <a:solidFill>
                      <a:schemeClr val="tx1"/>
                    </a:solidFill>
                    <a:prstDash val="dashDot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298" name="Straight Connector 297"/>
                <p:cNvCxnSpPr/>
                <p:nvPr/>
              </p:nvCxnSpPr>
              <p:spPr>
                <a:xfrm>
                  <a:off x="5791668" y="3612214"/>
                  <a:ext cx="133501" cy="419226"/>
                </a:xfrm>
                <a:prstGeom prst="line">
                  <a:avLst/>
                </a:prstGeom>
                <a:ln w="952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9" name="Straight Connector 298"/>
                <p:cNvCxnSpPr/>
                <p:nvPr/>
              </p:nvCxnSpPr>
              <p:spPr>
                <a:xfrm flipV="1">
                  <a:off x="5925169" y="3602865"/>
                  <a:ext cx="158942" cy="428574"/>
                </a:xfrm>
                <a:prstGeom prst="line">
                  <a:avLst/>
                </a:prstGeom>
                <a:ln w="952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290" name="Rectangle 289"/>
              <p:cNvSpPr/>
              <p:nvPr/>
            </p:nvSpPr>
            <p:spPr>
              <a:xfrm rot="5400000" flipV="1">
                <a:off x="1357651" y="1263624"/>
                <a:ext cx="298427" cy="269377"/>
              </a:xfrm>
              <a:prstGeom prst="rect">
                <a:avLst/>
              </a:prstGeom>
              <a:solidFill>
                <a:schemeClr val="tx1"/>
              </a:solidFill>
              <a:ln w="19050" cap="sq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91" name="Rectangle 290"/>
              <p:cNvSpPr/>
              <p:nvPr/>
            </p:nvSpPr>
            <p:spPr>
              <a:xfrm rot="18900000" flipH="1">
                <a:off x="1433517" y="2227980"/>
                <a:ext cx="85421" cy="724063"/>
              </a:xfrm>
              <a:prstGeom prst="rect">
                <a:avLst/>
              </a:prstGeom>
              <a:solidFill>
                <a:schemeClr val="bg2"/>
              </a:solidFill>
              <a:ln w="9525" cap="sq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</p:grpSp>
      </p:grpSp>
      <p:cxnSp>
        <p:nvCxnSpPr>
          <p:cNvPr id="307" name="Straight Connector 306"/>
          <p:cNvCxnSpPr>
            <a:stCxn id="163" idx="3"/>
            <a:endCxn id="291" idx="1"/>
          </p:cNvCxnSpPr>
          <p:nvPr/>
        </p:nvCxnSpPr>
        <p:spPr>
          <a:xfrm flipH="1" flipV="1">
            <a:off x="4419095" y="2562140"/>
            <a:ext cx="1095503" cy="1544"/>
          </a:xfrm>
          <a:prstGeom prst="line">
            <a:avLst/>
          </a:prstGeom>
          <a:ln w="9525">
            <a:solidFill>
              <a:schemeClr val="tx1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Freeform 48"/>
          <p:cNvSpPr/>
          <p:nvPr/>
        </p:nvSpPr>
        <p:spPr>
          <a:xfrm>
            <a:off x="3892550" y="992012"/>
            <a:ext cx="592278" cy="289752"/>
          </a:xfrm>
          <a:custGeom>
            <a:avLst/>
            <a:gdLst>
              <a:gd name="connsiteX0" fmla="*/ 520700 w 592278"/>
              <a:gd name="connsiteY0" fmla="*/ 265288 h 289752"/>
              <a:gd name="connsiteX1" fmla="*/ 590550 w 592278"/>
              <a:gd name="connsiteY1" fmla="*/ 138288 h 289752"/>
              <a:gd name="connsiteX2" fmla="*/ 552450 w 592278"/>
              <a:gd name="connsiteY2" fmla="*/ 17638 h 289752"/>
              <a:gd name="connsiteX3" fmla="*/ 361950 w 592278"/>
              <a:gd name="connsiteY3" fmla="*/ 11288 h 289752"/>
              <a:gd name="connsiteX4" fmla="*/ 273050 w 592278"/>
              <a:gd name="connsiteY4" fmla="*/ 119238 h 289752"/>
              <a:gd name="connsiteX5" fmla="*/ 190500 w 592278"/>
              <a:gd name="connsiteY5" fmla="*/ 239888 h 289752"/>
              <a:gd name="connsiteX6" fmla="*/ 0 w 592278"/>
              <a:gd name="connsiteY6" fmla="*/ 258938 h 289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2278" h="289752">
                <a:moveTo>
                  <a:pt x="520700" y="265288"/>
                </a:moveTo>
                <a:cubicBezTo>
                  <a:pt x="552979" y="222425"/>
                  <a:pt x="585258" y="179563"/>
                  <a:pt x="590550" y="138288"/>
                </a:cubicBezTo>
                <a:cubicBezTo>
                  <a:pt x="595842" y="97013"/>
                  <a:pt x="590550" y="38805"/>
                  <a:pt x="552450" y="17638"/>
                </a:cubicBezTo>
                <a:cubicBezTo>
                  <a:pt x="514350" y="-3529"/>
                  <a:pt x="408517" y="-5645"/>
                  <a:pt x="361950" y="11288"/>
                </a:cubicBezTo>
                <a:cubicBezTo>
                  <a:pt x="315383" y="28221"/>
                  <a:pt x="301625" y="81138"/>
                  <a:pt x="273050" y="119238"/>
                </a:cubicBezTo>
                <a:cubicBezTo>
                  <a:pt x="244475" y="157338"/>
                  <a:pt x="236008" y="216605"/>
                  <a:pt x="190500" y="239888"/>
                </a:cubicBezTo>
                <a:cubicBezTo>
                  <a:pt x="144992" y="263171"/>
                  <a:pt x="16933" y="327730"/>
                  <a:pt x="0" y="258938"/>
                </a:cubicBezTo>
              </a:path>
            </a:pathLst>
          </a:custGeom>
          <a:noFill/>
          <a:ln w="47625" cap="sq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46" name="Rectangle 245"/>
          <p:cNvSpPr/>
          <p:nvPr/>
        </p:nvSpPr>
        <p:spPr>
          <a:xfrm>
            <a:off x="2551316" y="1082521"/>
            <a:ext cx="1305246" cy="3499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19050" cap="sq">
            <a:solidFill>
              <a:schemeClr val="accent5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rgbClr val="FED100">
                    <a:lumMod val="50000"/>
                  </a:srgbClr>
                </a:solidFill>
              </a:rPr>
              <a:t>Cal. source</a:t>
            </a:r>
          </a:p>
        </p:txBody>
      </p:sp>
      <p:sp>
        <p:nvSpPr>
          <p:cNvPr id="50" name="Rectangle 49"/>
          <p:cNvSpPr/>
          <p:nvPr/>
        </p:nvSpPr>
        <p:spPr>
          <a:xfrm>
            <a:off x="3854111" y="1159628"/>
            <a:ext cx="186978" cy="191348"/>
          </a:xfrm>
          <a:prstGeom prst="rect">
            <a:avLst/>
          </a:prstGeom>
          <a:solidFill>
            <a:schemeClr val="tx1"/>
          </a:solidFill>
          <a:ln w="19050" cap="sq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08" name="Rectangle 307"/>
          <p:cNvSpPr/>
          <p:nvPr/>
        </p:nvSpPr>
        <p:spPr>
          <a:xfrm>
            <a:off x="4137330" y="638099"/>
            <a:ext cx="186978" cy="191348"/>
          </a:xfrm>
          <a:prstGeom prst="rect">
            <a:avLst/>
          </a:prstGeom>
          <a:solidFill>
            <a:schemeClr val="tx1"/>
          </a:solidFill>
          <a:ln w="19050" cap="sq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63" name="Freeform 62"/>
          <p:cNvSpPr/>
          <p:nvPr/>
        </p:nvSpPr>
        <p:spPr>
          <a:xfrm>
            <a:off x="5391150" y="733722"/>
            <a:ext cx="258095" cy="526753"/>
          </a:xfrm>
          <a:custGeom>
            <a:avLst/>
            <a:gdLst>
              <a:gd name="connsiteX0" fmla="*/ 0 w 258095"/>
              <a:gd name="connsiteY0" fmla="*/ 2878 h 526753"/>
              <a:gd name="connsiteX1" fmla="*/ 133350 w 258095"/>
              <a:gd name="connsiteY1" fmla="*/ 6053 h 526753"/>
              <a:gd name="connsiteX2" fmla="*/ 225425 w 258095"/>
              <a:gd name="connsiteY2" fmla="*/ 56853 h 526753"/>
              <a:gd name="connsiteX3" fmla="*/ 250825 w 258095"/>
              <a:gd name="connsiteY3" fmla="*/ 158453 h 526753"/>
              <a:gd name="connsiteX4" fmla="*/ 104775 w 258095"/>
              <a:gd name="connsiteY4" fmla="*/ 361653 h 526753"/>
              <a:gd name="connsiteX5" fmla="*/ 133350 w 258095"/>
              <a:gd name="connsiteY5" fmla="*/ 526753 h 5267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8095" h="526753">
                <a:moveTo>
                  <a:pt x="0" y="2878"/>
                </a:moveTo>
                <a:cubicBezTo>
                  <a:pt x="47889" y="-33"/>
                  <a:pt x="95779" y="-2943"/>
                  <a:pt x="133350" y="6053"/>
                </a:cubicBezTo>
                <a:cubicBezTo>
                  <a:pt x="170921" y="15049"/>
                  <a:pt x="205846" y="31453"/>
                  <a:pt x="225425" y="56853"/>
                </a:cubicBezTo>
                <a:cubicBezTo>
                  <a:pt x="245004" y="82253"/>
                  <a:pt x="270933" y="107653"/>
                  <a:pt x="250825" y="158453"/>
                </a:cubicBezTo>
                <a:cubicBezTo>
                  <a:pt x="230717" y="209253"/>
                  <a:pt x="124354" y="300270"/>
                  <a:pt x="104775" y="361653"/>
                </a:cubicBezTo>
                <a:cubicBezTo>
                  <a:pt x="85196" y="423036"/>
                  <a:pt x="109273" y="474894"/>
                  <a:pt x="133350" y="526753"/>
                </a:cubicBezTo>
              </a:path>
            </a:pathLst>
          </a:custGeom>
          <a:noFill/>
          <a:ln w="63500" cap="sq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925009" y="1468655"/>
            <a:ext cx="157094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1050" dirty="0">
                <a:solidFill>
                  <a:srgbClr val="34B233">
                    <a:lumMod val="75000"/>
                  </a:srgbClr>
                </a:solidFill>
                <a:latin typeface="Arial"/>
              </a:rPr>
              <a:t>F1</a:t>
            </a:r>
          </a:p>
        </p:txBody>
      </p:sp>
      <p:sp>
        <p:nvSpPr>
          <p:cNvPr id="175" name="TextBox 174"/>
          <p:cNvSpPr txBox="1"/>
          <p:nvPr/>
        </p:nvSpPr>
        <p:spPr>
          <a:xfrm>
            <a:off x="1869426" y="2071606"/>
            <a:ext cx="150682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1050" dirty="0">
                <a:solidFill>
                  <a:srgbClr val="34B233">
                    <a:lumMod val="75000"/>
                  </a:srgbClr>
                </a:solidFill>
                <a:latin typeface="Arial"/>
              </a:rPr>
              <a:t>L1</a:t>
            </a:r>
          </a:p>
        </p:txBody>
      </p:sp>
      <p:sp>
        <p:nvSpPr>
          <p:cNvPr id="176" name="TextBox 175"/>
          <p:cNvSpPr txBox="1"/>
          <p:nvPr/>
        </p:nvSpPr>
        <p:spPr>
          <a:xfrm>
            <a:off x="1249594" y="3233379"/>
            <a:ext cx="187552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1050" dirty="0">
                <a:solidFill>
                  <a:srgbClr val="34B233">
                    <a:lumMod val="75000"/>
                  </a:srgbClr>
                </a:solidFill>
                <a:latin typeface="Arial"/>
              </a:rPr>
              <a:t>M1</a:t>
            </a:r>
          </a:p>
        </p:txBody>
      </p:sp>
      <p:sp>
        <p:nvSpPr>
          <p:cNvPr id="177" name="TextBox 176"/>
          <p:cNvSpPr txBox="1"/>
          <p:nvPr/>
        </p:nvSpPr>
        <p:spPr>
          <a:xfrm>
            <a:off x="2513384" y="2783044"/>
            <a:ext cx="150682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1050" dirty="0">
                <a:solidFill>
                  <a:srgbClr val="34B233">
                    <a:lumMod val="75000"/>
                  </a:srgbClr>
                </a:solidFill>
                <a:latin typeface="Arial"/>
              </a:rPr>
              <a:t>L2</a:t>
            </a:r>
          </a:p>
        </p:txBody>
      </p:sp>
      <p:sp>
        <p:nvSpPr>
          <p:cNvPr id="178" name="TextBox 177"/>
          <p:cNvSpPr txBox="1"/>
          <p:nvPr/>
        </p:nvSpPr>
        <p:spPr>
          <a:xfrm>
            <a:off x="3961537" y="2775673"/>
            <a:ext cx="150682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1050" dirty="0">
                <a:solidFill>
                  <a:srgbClr val="34B233">
                    <a:lumMod val="75000"/>
                  </a:srgbClr>
                </a:solidFill>
                <a:latin typeface="Arial"/>
              </a:rPr>
              <a:t>L3</a:t>
            </a:r>
          </a:p>
        </p:txBody>
      </p:sp>
      <p:sp>
        <p:nvSpPr>
          <p:cNvPr id="179" name="TextBox 178"/>
          <p:cNvSpPr txBox="1"/>
          <p:nvPr/>
        </p:nvSpPr>
        <p:spPr>
          <a:xfrm>
            <a:off x="5379981" y="3491700"/>
            <a:ext cx="25487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1050" dirty="0">
                <a:solidFill>
                  <a:srgbClr val="34B233">
                    <a:lumMod val="75000"/>
                  </a:srgbClr>
                </a:solidFill>
                <a:latin typeface="Arial"/>
              </a:rPr>
              <a:t>BS1</a:t>
            </a:r>
          </a:p>
        </p:txBody>
      </p:sp>
      <p:sp>
        <p:nvSpPr>
          <p:cNvPr id="181" name="TextBox 180"/>
          <p:cNvSpPr txBox="1"/>
          <p:nvPr/>
        </p:nvSpPr>
        <p:spPr>
          <a:xfrm>
            <a:off x="7534086" y="3379136"/>
            <a:ext cx="187552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1050" dirty="0">
                <a:solidFill>
                  <a:srgbClr val="34B233">
                    <a:lumMod val="75000"/>
                  </a:srgbClr>
                </a:solidFill>
                <a:latin typeface="Arial"/>
              </a:rPr>
              <a:t>M3</a:t>
            </a:r>
          </a:p>
        </p:txBody>
      </p:sp>
      <p:sp>
        <p:nvSpPr>
          <p:cNvPr id="182" name="TextBox 181"/>
          <p:cNvSpPr txBox="1"/>
          <p:nvPr/>
        </p:nvSpPr>
        <p:spPr>
          <a:xfrm>
            <a:off x="7913574" y="2223132"/>
            <a:ext cx="150682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1050" dirty="0">
                <a:solidFill>
                  <a:srgbClr val="34B233">
                    <a:lumMod val="75000"/>
                  </a:srgbClr>
                </a:solidFill>
                <a:latin typeface="Arial"/>
              </a:rPr>
              <a:t>L4</a:t>
            </a:r>
          </a:p>
        </p:txBody>
      </p:sp>
      <p:sp>
        <p:nvSpPr>
          <p:cNvPr id="185" name="TextBox 184"/>
          <p:cNvSpPr txBox="1"/>
          <p:nvPr/>
        </p:nvSpPr>
        <p:spPr>
          <a:xfrm>
            <a:off x="5948061" y="1466734"/>
            <a:ext cx="157094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1050" dirty="0">
                <a:solidFill>
                  <a:srgbClr val="34B233">
                    <a:lumMod val="75000"/>
                  </a:srgbClr>
                </a:solidFill>
                <a:latin typeface="Arial"/>
              </a:rPr>
              <a:t>F3</a:t>
            </a:r>
          </a:p>
        </p:txBody>
      </p:sp>
      <p:sp>
        <p:nvSpPr>
          <p:cNvPr id="187" name="TextBox 186"/>
          <p:cNvSpPr txBox="1"/>
          <p:nvPr/>
        </p:nvSpPr>
        <p:spPr>
          <a:xfrm>
            <a:off x="4829632" y="1460578"/>
            <a:ext cx="157094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1050" dirty="0">
                <a:solidFill>
                  <a:srgbClr val="34B233">
                    <a:lumMod val="75000"/>
                  </a:srgbClr>
                </a:solidFill>
                <a:latin typeface="Arial"/>
              </a:rPr>
              <a:t>F2</a:t>
            </a:r>
          </a:p>
        </p:txBody>
      </p:sp>
      <p:sp>
        <p:nvSpPr>
          <p:cNvPr id="188" name="TextBox 187"/>
          <p:cNvSpPr txBox="1"/>
          <p:nvPr/>
        </p:nvSpPr>
        <p:spPr>
          <a:xfrm>
            <a:off x="7934664" y="1461522"/>
            <a:ext cx="157094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1050" dirty="0">
                <a:solidFill>
                  <a:srgbClr val="34B233">
                    <a:lumMod val="75000"/>
                  </a:srgbClr>
                </a:solidFill>
                <a:latin typeface="Arial"/>
              </a:rPr>
              <a:t>F4</a:t>
            </a:r>
          </a:p>
        </p:txBody>
      </p:sp>
      <p:sp>
        <p:nvSpPr>
          <p:cNvPr id="189" name="TextBox 188"/>
          <p:cNvSpPr txBox="1"/>
          <p:nvPr/>
        </p:nvSpPr>
        <p:spPr>
          <a:xfrm>
            <a:off x="5906891" y="2064130"/>
            <a:ext cx="150682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1050" dirty="0">
                <a:solidFill>
                  <a:srgbClr val="34B233">
                    <a:lumMod val="75000"/>
                  </a:srgbClr>
                </a:solidFill>
                <a:latin typeface="Arial"/>
              </a:rPr>
              <a:t>L5</a:t>
            </a:r>
          </a:p>
        </p:txBody>
      </p:sp>
      <p:sp>
        <p:nvSpPr>
          <p:cNvPr id="191" name="TextBox 190"/>
          <p:cNvSpPr txBox="1"/>
          <p:nvPr/>
        </p:nvSpPr>
        <p:spPr>
          <a:xfrm>
            <a:off x="5900022" y="2536074"/>
            <a:ext cx="25487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1050" dirty="0">
                <a:solidFill>
                  <a:srgbClr val="34B233">
                    <a:lumMod val="75000"/>
                  </a:srgbClr>
                </a:solidFill>
                <a:latin typeface="Arial"/>
              </a:rPr>
              <a:t>BS2</a:t>
            </a:r>
          </a:p>
        </p:txBody>
      </p:sp>
      <p:sp>
        <p:nvSpPr>
          <p:cNvPr id="193" name="TextBox 192"/>
          <p:cNvSpPr txBox="1"/>
          <p:nvPr/>
        </p:nvSpPr>
        <p:spPr>
          <a:xfrm>
            <a:off x="4916770" y="2810969"/>
            <a:ext cx="27090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1050" dirty="0">
                <a:solidFill>
                  <a:srgbClr val="34B233">
                    <a:lumMod val="75000"/>
                  </a:srgbClr>
                </a:solidFill>
                <a:latin typeface="Arial"/>
              </a:rPr>
              <a:t>ND1</a:t>
            </a:r>
          </a:p>
        </p:txBody>
      </p:sp>
      <p:sp>
        <p:nvSpPr>
          <p:cNvPr id="197" name="TextBox 196"/>
          <p:cNvSpPr txBox="1"/>
          <p:nvPr/>
        </p:nvSpPr>
        <p:spPr>
          <a:xfrm>
            <a:off x="3994380" y="2541070"/>
            <a:ext cx="187552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1050" dirty="0">
                <a:solidFill>
                  <a:srgbClr val="34B233">
                    <a:lumMod val="75000"/>
                  </a:srgbClr>
                </a:solidFill>
                <a:latin typeface="Arial"/>
              </a:rPr>
              <a:t>M2</a:t>
            </a:r>
          </a:p>
        </p:txBody>
      </p:sp>
      <p:sp>
        <p:nvSpPr>
          <p:cNvPr id="198" name="TextBox 197"/>
          <p:cNvSpPr txBox="1"/>
          <p:nvPr/>
        </p:nvSpPr>
        <p:spPr>
          <a:xfrm>
            <a:off x="4765741" y="1988123"/>
            <a:ext cx="150682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1050" dirty="0">
                <a:solidFill>
                  <a:srgbClr val="34B233">
                    <a:lumMod val="75000"/>
                  </a:srgbClr>
                </a:solidFill>
                <a:latin typeface="Arial"/>
              </a:rPr>
              <a:t>L6</a:t>
            </a:r>
          </a:p>
        </p:txBody>
      </p:sp>
      <p:sp>
        <p:nvSpPr>
          <p:cNvPr id="194" name="TextBox 193"/>
          <p:cNvSpPr txBox="1"/>
          <p:nvPr/>
        </p:nvSpPr>
        <p:spPr>
          <a:xfrm>
            <a:off x="5739485" y="4257930"/>
            <a:ext cx="27090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1050" dirty="0">
                <a:solidFill>
                  <a:srgbClr val="34B233">
                    <a:lumMod val="75000"/>
                  </a:srgbClr>
                </a:solidFill>
                <a:latin typeface="Arial"/>
              </a:rPr>
              <a:t>ND2</a:t>
            </a:r>
          </a:p>
        </p:txBody>
      </p:sp>
    </p:spTree>
    <p:extLst>
      <p:ext uri="{BB962C8B-B14F-4D97-AF65-F5344CB8AC3E}">
        <p14:creationId xmlns:p14="http://schemas.microsoft.com/office/powerpoint/2010/main" val="28309624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xJ0RKDkUmLaayricvBN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xJ0RKDkUmLaayricvBN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xJ0RKDkUmLaayricvB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xJ0RKDkUmLaayricvBN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wZulTxvUGSNnvyhVEH9g"/>
</p:tagLst>
</file>

<file path=ppt/theme/theme1.xml><?xml version="1.0" encoding="utf-8"?>
<a:theme xmlns:a="http://schemas.openxmlformats.org/drawingml/2006/main" name="1_ASML_POWERPOINT for presentation purposes">
  <a:themeElements>
    <a:clrScheme name="ASML Colors">
      <a:dk1>
        <a:srgbClr val="0F238C"/>
      </a:dk1>
      <a:lt1>
        <a:srgbClr val="FFFFFF"/>
      </a:lt1>
      <a:dk2>
        <a:srgbClr val="1C7DDB"/>
      </a:dk2>
      <a:lt2>
        <a:srgbClr val="86CEF4"/>
      </a:lt2>
      <a:accent1>
        <a:srgbClr val="0F238C"/>
      </a:accent1>
      <a:accent2>
        <a:srgbClr val="8E8E8E"/>
      </a:accent2>
      <a:accent3>
        <a:srgbClr val="FF7F45"/>
      </a:accent3>
      <a:accent4>
        <a:srgbClr val="34B233"/>
      </a:accent4>
      <a:accent5>
        <a:srgbClr val="FED100"/>
      </a:accent5>
      <a:accent6>
        <a:srgbClr val="1C7DDB"/>
      </a:accent6>
      <a:hlink>
        <a:srgbClr val="8E8E8E"/>
      </a:hlink>
      <a:folHlink>
        <a:srgbClr val="474747"/>
      </a:folHlink>
    </a:clrScheme>
    <a:fontScheme name="Aangepas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Apex">
      <a:fillStyleLst>
        <a:solidFill>
          <a:schemeClr val="phClr"/>
        </a:solidFill>
        <a:gradFill rotWithShape="1">
          <a:gsLst>
            <a:gs pos="20000">
              <a:schemeClr val="phClr">
                <a:tint val="9000"/>
              </a:schemeClr>
            </a:gs>
            <a:gs pos="100000">
              <a:schemeClr val="phClr">
                <a:tint val="70000"/>
                <a:satMod val="100000"/>
              </a:schemeClr>
            </a:gs>
          </a:gsLst>
          <a:path path="circle">
            <a:fillToRect l="-15000" t="-15000" r="115000" b="115000"/>
          </a:path>
        </a:gradFill>
        <a:gradFill rotWithShape="1">
          <a:gsLst>
            <a:gs pos="0">
              <a:schemeClr val="phClr">
                <a:shade val="60000"/>
              </a:schemeClr>
            </a:gs>
            <a:gs pos="33000">
              <a:schemeClr val="phClr">
                <a:tint val="86500"/>
              </a:schemeClr>
            </a:gs>
            <a:gs pos="46750">
              <a:schemeClr val="phClr">
                <a:tint val="71000"/>
                <a:satMod val="112000"/>
              </a:schemeClr>
            </a:gs>
            <a:gs pos="53000">
              <a:schemeClr val="phClr">
                <a:tint val="71000"/>
                <a:satMod val="112000"/>
              </a:schemeClr>
            </a:gs>
            <a:gs pos="68000">
              <a:schemeClr val="phClr">
                <a:tint val="86000"/>
              </a:schemeClr>
            </a:gs>
            <a:gs pos="100000">
              <a:schemeClr val="phClr">
                <a:shade val="60000"/>
              </a:schemeClr>
            </a:gs>
          </a:gsLst>
          <a:lin ang="8350000" scaled="1"/>
        </a:gradFill>
      </a:fillStyleLst>
      <a:lnStyleLst>
        <a:ln w="9525" cap="flat" cmpd="sng" algn="ctr">
          <a:solidFill>
            <a:schemeClr val="phClr">
              <a:shade val="48000"/>
              <a:satMod val="11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130000" dist="101600" dir="2700000" algn="tl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190500" dist="228600" dir="2700000" sy="90000" rotWithShape="0">
              <a:srgbClr val="000000">
                <a:alpha val="25500"/>
              </a:srgbClr>
            </a:outerShdw>
          </a:effectLst>
        </a:effectStyle>
        <a:effectStyle>
          <a:effectLst>
            <a:outerShdw blurRad="190500" dist="228600" dir="2700000" sy="90000" rotWithShape="0">
              <a:srgbClr val="000000">
                <a:alpha val="25500"/>
              </a:srgbClr>
            </a:outerShdw>
          </a:effectLst>
          <a:scene3d>
            <a:camera prst="orthographicFront" fov="0">
              <a:rot lat="0" lon="0" rev="0"/>
            </a:camera>
            <a:lightRig rig="soft" dir="tl">
              <a:rot lat="0" lon="0" rev="20100000"/>
            </a:lightRig>
          </a:scene3d>
          <a:sp3d>
            <a:bevelT w="50800"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19050" cap="sq"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spcAft>
            <a:spcPts val="900"/>
          </a:spcAft>
          <a:defRPr sz="1800"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SML_PowerPoint for PRESENTATION purposes.potx" id="{AD2D8853-9EE4-4350-BC3B-CBE0B3A24CF6}" vid="{BC377CD4-5413-4A2E-908C-5EF391504E5C}"/>
    </a:ext>
  </a:extLst>
</a:theme>
</file>

<file path=ppt/theme/theme2.xml><?xml version="1.0" encoding="utf-8"?>
<a:theme xmlns:a="http://schemas.openxmlformats.org/drawingml/2006/main" name="2_ASML_Covers for presentation purposes">
  <a:themeElements>
    <a:clrScheme name="ASML Colors">
      <a:dk1>
        <a:srgbClr val="0F238C"/>
      </a:dk1>
      <a:lt1>
        <a:srgbClr val="FFFFFF"/>
      </a:lt1>
      <a:dk2>
        <a:srgbClr val="1C7DDB"/>
      </a:dk2>
      <a:lt2>
        <a:srgbClr val="86CEF4"/>
      </a:lt2>
      <a:accent1>
        <a:srgbClr val="0F238C"/>
      </a:accent1>
      <a:accent2>
        <a:srgbClr val="8E8E8E"/>
      </a:accent2>
      <a:accent3>
        <a:srgbClr val="FF7F45"/>
      </a:accent3>
      <a:accent4>
        <a:srgbClr val="34B233"/>
      </a:accent4>
      <a:accent5>
        <a:srgbClr val="FED100"/>
      </a:accent5>
      <a:accent6>
        <a:srgbClr val="1C7DDB"/>
      </a:accent6>
      <a:hlink>
        <a:srgbClr val="8E8E8E"/>
      </a:hlink>
      <a:folHlink>
        <a:srgbClr val="474747"/>
      </a:folHlink>
    </a:clrScheme>
    <a:fontScheme name="Aangepas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Apex">
      <a:fillStyleLst>
        <a:solidFill>
          <a:schemeClr val="phClr"/>
        </a:solidFill>
        <a:gradFill rotWithShape="1">
          <a:gsLst>
            <a:gs pos="20000">
              <a:schemeClr val="phClr">
                <a:tint val="9000"/>
              </a:schemeClr>
            </a:gs>
            <a:gs pos="100000">
              <a:schemeClr val="phClr">
                <a:tint val="70000"/>
                <a:satMod val="100000"/>
              </a:schemeClr>
            </a:gs>
          </a:gsLst>
          <a:path path="circle">
            <a:fillToRect l="-15000" t="-15000" r="115000" b="115000"/>
          </a:path>
        </a:gradFill>
        <a:gradFill rotWithShape="1">
          <a:gsLst>
            <a:gs pos="0">
              <a:schemeClr val="phClr">
                <a:shade val="60000"/>
              </a:schemeClr>
            </a:gs>
            <a:gs pos="33000">
              <a:schemeClr val="phClr">
                <a:tint val="86500"/>
              </a:schemeClr>
            </a:gs>
            <a:gs pos="46750">
              <a:schemeClr val="phClr">
                <a:tint val="71000"/>
                <a:satMod val="112000"/>
              </a:schemeClr>
            </a:gs>
            <a:gs pos="53000">
              <a:schemeClr val="phClr">
                <a:tint val="71000"/>
                <a:satMod val="112000"/>
              </a:schemeClr>
            </a:gs>
            <a:gs pos="68000">
              <a:schemeClr val="phClr">
                <a:tint val="86000"/>
              </a:schemeClr>
            </a:gs>
            <a:gs pos="100000">
              <a:schemeClr val="phClr">
                <a:shade val="60000"/>
              </a:schemeClr>
            </a:gs>
          </a:gsLst>
          <a:lin ang="8350000" scaled="1"/>
        </a:gradFill>
      </a:fillStyleLst>
      <a:lnStyleLst>
        <a:ln w="9525" cap="flat" cmpd="sng" algn="ctr">
          <a:solidFill>
            <a:schemeClr val="phClr">
              <a:shade val="48000"/>
              <a:satMod val="11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130000" dist="101600" dir="2700000" algn="tl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190500" dist="228600" dir="2700000" sy="90000" rotWithShape="0">
              <a:srgbClr val="000000">
                <a:alpha val="25500"/>
              </a:srgbClr>
            </a:outerShdw>
          </a:effectLst>
        </a:effectStyle>
        <a:effectStyle>
          <a:effectLst>
            <a:outerShdw blurRad="190500" dist="228600" dir="2700000" sy="90000" rotWithShape="0">
              <a:srgbClr val="000000">
                <a:alpha val="25500"/>
              </a:srgbClr>
            </a:outerShdw>
          </a:effectLst>
          <a:scene3d>
            <a:camera prst="orthographicFront" fov="0">
              <a:rot lat="0" lon="0" rev="0"/>
            </a:camera>
            <a:lightRig rig="soft" dir="tl">
              <a:rot lat="0" lon="0" rev="20100000"/>
            </a:lightRig>
          </a:scene3d>
          <a:sp3d>
            <a:bevelT w="50800"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19050" cap="sq"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spcAft>
            <a:spcPts val="900"/>
          </a:spcAft>
          <a:defRPr sz="1800"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SML_PowerPoint for PRESENTATION purposes.potx" id="{AD2D8853-9EE4-4350-BC3B-CBE0B3A24CF6}" vid="{C0E7CAE8-E42C-4F69-B3EE-78E13737261F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CE8998E989D1B47BC6BD83C6E5B0531" ma:contentTypeVersion="8" ma:contentTypeDescription="Create a new document." ma:contentTypeScope="" ma:versionID="e047239050dc27dae1dae8a4b2189cf3">
  <xsd:schema xmlns:xsd="http://www.w3.org/2001/XMLSchema" xmlns:xs="http://www.w3.org/2001/XMLSchema" xmlns:p="http://schemas.microsoft.com/office/2006/metadata/properties" xmlns:ns2="6bc7f217-8877-4c17-a8e5-f049ca421cd4" xmlns:ns3="9b204194-9261-4162-ba31-6efafd213126" targetNamespace="http://schemas.microsoft.com/office/2006/metadata/properties" ma:root="true" ma:fieldsID="a6317a171890b91e4c16bcad2d5aaade" ns2:_="" ns3:_="">
    <xsd:import namespace="6bc7f217-8877-4c17-a8e5-f049ca421cd4"/>
    <xsd:import namespace="9b204194-9261-4162-ba31-6efafd21312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DateTaken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bc7f217-8877-4c17-a8e5-f049ca421cd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description="" ma:internalName="MediaServiceAutoTags" ma:readOnly="true">
      <xsd:simpleType>
        <xsd:restriction base="dms:Text"/>
      </xsd:simpleType>
    </xsd:element>
    <xsd:element name="MediaServiceDateTaken" ma:index="11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Location" ma:index="12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3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204194-9261-4162-ba31-6efafd213126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5D5F75C-A791-4C7A-BFE7-FFF32A606FD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A2176B2-DE4A-45D9-AEB7-209AA169D60A}">
  <ds:schemaRefs>
    <ds:schemaRef ds:uri="http://purl.org/dc/terms/"/>
    <ds:schemaRef ds:uri="http://schemas.openxmlformats.org/package/2006/metadata/core-properties"/>
    <ds:schemaRef ds:uri="http://purl.org/dc/dcmitype/"/>
    <ds:schemaRef ds:uri="http://purl.org/dc/elements/1.1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9b204194-9261-4162-ba31-6efafd213126"/>
    <ds:schemaRef ds:uri="6bc7f217-8877-4c17-a8e5-f049ca421cd4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DF910552-BEF6-4993-AC52-EF87C61388E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bc7f217-8877-4c17-a8e5-f049ca421cd4"/>
    <ds:schemaRef ds:uri="9b204194-9261-4162-ba31-6efafd21312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5653</TotalTime>
  <Words>1207</Words>
  <Application>Microsoft Office PowerPoint</Application>
  <PresentationFormat>On-screen Show (16:9)</PresentationFormat>
  <Paragraphs>479</Paragraphs>
  <Slides>36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6</vt:i4>
      </vt:variant>
    </vt:vector>
  </HeadingPairs>
  <TitlesOfParts>
    <vt:vector size="44" baseType="lpstr">
      <vt:lpstr>Mathcad UniMath</vt:lpstr>
      <vt:lpstr>MS PGothic</vt:lpstr>
      <vt:lpstr>MS PGothic</vt:lpstr>
      <vt:lpstr>Arial</vt:lpstr>
      <vt:lpstr>Calibri</vt:lpstr>
      <vt:lpstr>1_ASML_POWERPOINT for presentation purposes</vt:lpstr>
      <vt:lpstr>2_ASML_Covers for presentation purposes</vt:lpstr>
      <vt:lpstr>Presentation</vt:lpstr>
      <vt:lpstr>PowerPoint Presentation</vt:lpstr>
      <vt:lpstr>PowerPoint Presentation</vt:lpstr>
      <vt:lpstr>YieldStar Introduction</vt:lpstr>
      <vt:lpstr>Task Manager User Interface</vt:lpstr>
      <vt:lpstr>Task types</vt:lpstr>
      <vt:lpstr>Technologies</vt:lpstr>
      <vt:lpstr>Model View ViewModel</vt:lpstr>
      <vt:lpstr>#Task 402 Class Diagram</vt:lpstr>
      <vt:lpstr>Source Component Overview</vt:lpstr>
      <vt:lpstr>CLM tasks overview</vt:lpstr>
      <vt:lpstr>YS component network connection</vt:lpstr>
      <vt:lpstr>LPPS GUI</vt:lpstr>
      <vt:lpstr>LampModuleControllerTool</vt:lpstr>
      <vt:lpstr>Introduction to System Hardware Setup Tool</vt:lpstr>
      <vt:lpstr>SHST support</vt:lpstr>
      <vt:lpstr>V model</vt:lpstr>
      <vt:lpstr>PowerPoint Presentation</vt:lpstr>
      <vt:lpstr>PowerPoint Presentation</vt:lpstr>
      <vt:lpstr>CL Module</vt:lpstr>
      <vt:lpstr>PowerPoint Presentation</vt:lpstr>
      <vt:lpstr>Light Source Control Software</vt:lpstr>
      <vt:lpstr>PowerPoint Presentation</vt:lpstr>
      <vt:lpstr>Caliburn.Micro; </vt:lpstr>
      <vt:lpstr>CLM Tasks</vt:lpstr>
      <vt:lpstr>Working our way through the V-diagram</vt:lpstr>
      <vt:lpstr>LampModuleControllerTool - details</vt:lpstr>
      <vt:lpstr>Autofac</vt:lpstr>
      <vt:lpstr>LPPS power on sequence</vt:lpstr>
      <vt:lpstr>Lambda function as action</vt:lpstr>
      <vt:lpstr>- IScheduler(hard)</vt:lpstr>
      <vt:lpstr>ILampModuleControllerToolContract</vt:lpstr>
      <vt:lpstr>Simple Factory</vt:lpstr>
      <vt:lpstr>YieldStar Sensor Sub-Assemblies</vt:lpstr>
      <vt:lpstr>Get data from EC in a quick mode</vt:lpstr>
      <vt:lpstr>Disposable</vt:lpstr>
      <vt:lpstr>Idispose sample code for LampModul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afael Lin</dc:creator>
  <cp:lastModifiedBy>Rafael Lin</cp:lastModifiedBy>
  <cp:revision>52</cp:revision>
  <dcterms:created xsi:type="dcterms:W3CDTF">2019-03-20T02:24:36Z</dcterms:created>
  <dcterms:modified xsi:type="dcterms:W3CDTF">2019-05-07T07:49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c18959a-f805-4b02-b465-c75c791063b3_Enabled">
    <vt:lpwstr>True</vt:lpwstr>
  </property>
  <property fmtid="{D5CDD505-2E9C-101B-9397-08002B2CF9AE}" pid="3" name="MSIP_Label_1c18959a-f805-4b02-b465-c75c791063b3_SiteId">
    <vt:lpwstr>af73baa8-f594-4eb2-a39d-93e96cad61fc</vt:lpwstr>
  </property>
  <property fmtid="{D5CDD505-2E9C-101B-9397-08002B2CF9AE}" pid="4" name="MSIP_Label_1c18959a-f805-4b02-b465-c75c791063b3_Ref">
    <vt:lpwstr>https://api.informationprotection.azure.com/api/af73baa8-f594-4eb2-a39d-93e96cad61fc</vt:lpwstr>
  </property>
  <property fmtid="{D5CDD505-2E9C-101B-9397-08002B2CF9AE}" pid="5" name="MSIP_Label_1c18959a-f805-4b02-b465-c75c791063b3_Owner">
    <vt:lpwstr>dennis.keyner@asml.com</vt:lpwstr>
  </property>
  <property fmtid="{D5CDD505-2E9C-101B-9397-08002B2CF9AE}" pid="6" name="MSIP_Label_1c18959a-f805-4b02-b465-c75c791063b3_SetDate">
    <vt:lpwstr>2017-11-20T13:55:43.5632088+01:00</vt:lpwstr>
  </property>
  <property fmtid="{D5CDD505-2E9C-101B-9397-08002B2CF9AE}" pid="7" name="MSIP_Label_1c18959a-f805-4b02-b465-c75c791063b3_Name">
    <vt:lpwstr>Confidential</vt:lpwstr>
  </property>
  <property fmtid="{D5CDD505-2E9C-101B-9397-08002B2CF9AE}" pid="8" name="MSIP_Label_1c18959a-f805-4b02-b465-c75c791063b3_Application">
    <vt:lpwstr>Microsoft Azure Information Protection</vt:lpwstr>
  </property>
  <property fmtid="{D5CDD505-2E9C-101B-9397-08002B2CF9AE}" pid="9" name="MSIP_Label_1c18959a-f805-4b02-b465-c75c791063b3_Extended_MSFT_Method">
    <vt:lpwstr>Manual</vt:lpwstr>
  </property>
  <property fmtid="{D5CDD505-2E9C-101B-9397-08002B2CF9AE}" pid="10" name="Sensitivity">
    <vt:lpwstr>Confidential</vt:lpwstr>
  </property>
  <property fmtid="{D5CDD505-2E9C-101B-9397-08002B2CF9AE}" pid="11" name="ContentTypeId">
    <vt:lpwstr>0x010100BCE8998E989D1B47BC6BD83C6E5B0531</vt:lpwstr>
  </property>
</Properties>
</file>